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7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03" r:id="rId2"/>
    <p:sldMasterId id="2147483709" r:id="rId3"/>
    <p:sldMasterId id="2147483717" r:id="rId4"/>
    <p:sldMasterId id="2147483720" r:id="rId5"/>
    <p:sldMasterId id="2147483723" r:id="rId6"/>
    <p:sldMasterId id="2147483726" r:id="rId7"/>
    <p:sldMasterId id="2147483729" r:id="rId8"/>
  </p:sldMasterIdLst>
  <p:notesMasterIdLst>
    <p:notesMasterId r:id="rId16"/>
  </p:notesMasterIdLst>
  <p:sldIdLst>
    <p:sldId id="373" r:id="rId9"/>
    <p:sldId id="375" r:id="rId10"/>
    <p:sldId id="376" r:id="rId11"/>
    <p:sldId id="378" r:id="rId12"/>
    <p:sldId id="369" r:id="rId13"/>
    <p:sldId id="379" r:id="rId14"/>
    <p:sldId id="368" r:id="rId15"/>
  </p:sldIdLst>
  <p:sldSz cx="12426950" cy="6858000"/>
  <p:notesSz cx="6797675" cy="9928225"/>
  <p:defaultTextStyle>
    <a:defPPr>
      <a:defRPr lang="ru-RU"/>
    </a:defPPr>
    <a:lvl1pPr marL="0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97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92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89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84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80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76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72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68" algn="l" defTabSz="91419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91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C6EB"/>
    <a:srgbClr val="F48D40"/>
    <a:srgbClr val="F28542"/>
    <a:srgbClr val="F73D3D"/>
    <a:srgbClr val="F47340"/>
    <a:srgbClr val="E2525A"/>
    <a:srgbClr val="FF9900"/>
    <a:srgbClr val="FBA737"/>
    <a:srgbClr val="7F7F7F"/>
    <a:srgbClr val="9B1F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658" autoAdjust="0"/>
    <p:restoredTop sz="94660"/>
  </p:normalViewPr>
  <p:slideViewPr>
    <p:cSldViewPr snapToGrid="0">
      <p:cViewPr>
        <p:scale>
          <a:sx n="75" d="100"/>
          <a:sy n="75" d="100"/>
        </p:scale>
        <p:origin x="-1134" y="-462"/>
      </p:cViewPr>
      <p:guideLst>
        <p:guide orient="horz" pos="2160"/>
        <p:guide pos="391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4015B3-8762-4202-B61B-1F291D077331}" type="datetimeFigureOut">
              <a:rPr lang="ru-RU" smtClean="0"/>
              <a:t>11.10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65125" y="1241425"/>
            <a:ext cx="60674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6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7AA1EF-CB3B-46FF-8B6B-41E7AF84460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1709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97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92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89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84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480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76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72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768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65125" y="1241425"/>
            <a:ext cx="60674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523062">
              <a:defRPr/>
            </a:pPr>
            <a:fld id="{DC255337-E11B-EA45-B1E1-34A7F90ABA53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523062">
                <a:defRPr/>
              </a:pPr>
              <a:t>1</a:t>
            </a:fld>
            <a:endParaRPr lang="ru-RU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017399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65125" y="1241425"/>
            <a:ext cx="60674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522933">
              <a:defRPr/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522933">
              <a:defRPr/>
            </a:pPr>
            <a:fld id="{DC255337-E11B-EA45-B1E1-34A7F90ABA53}" type="slidenum">
              <a:rPr lang="ru-RU">
                <a:solidFill>
                  <a:prstClr val="black"/>
                </a:solidFill>
                <a:latin typeface="Calibri"/>
              </a:rPr>
              <a:pPr defTabSz="522933">
                <a:defRPr/>
              </a:pPr>
              <a:t>2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070889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65125" y="1241425"/>
            <a:ext cx="60674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255337-E11B-EA45-B1E1-34A7F90ABA53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13552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00" y="742950"/>
            <a:ext cx="6746875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255337-E11B-EA45-B1E1-34A7F90ABA53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039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25038" y="5436871"/>
            <a:ext cx="2328964" cy="474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no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72827">
              <a:defRPr/>
            </a:pPr>
            <a:r>
              <a:rPr lang="ru-RU" altLang="x-none" sz="1269" dirty="0">
                <a:solidFill>
                  <a:srgbClr val="000000">
                    <a:lumMod val="65000"/>
                    <a:lumOff val="35000"/>
                  </a:srgbClr>
                </a:solidFill>
                <a:latin typeface="Whitney Book" charset="0"/>
                <a:ea typeface="Whitney Book" charset="0"/>
                <a:cs typeface="Whitney Book" charset="0"/>
              </a:rPr>
              <a:t>В жизни всегда</a:t>
            </a:r>
            <a:br>
              <a:rPr lang="ru-RU" altLang="x-none" sz="1269" dirty="0">
                <a:solidFill>
                  <a:srgbClr val="000000">
                    <a:lumMod val="65000"/>
                    <a:lumOff val="35000"/>
                  </a:srgbClr>
                </a:solidFill>
                <a:latin typeface="Whitney Book" charset="0"/>
                <a:ea typeface="Whitney Book" charset="0"/>
                <a:cs typeface="Whitney Book" charset="0"/>
              </a:rPr>
            </a:br>
            <a:r>
              <a:rPr lang="ru-RU" altLang="x-none" sz="1269" dirty="0">
                <a:solidFill>
                  <a:srgbClr val="000000">
                    <a:lumMod val="65000"/>
                    <a:lumOff val="35000"/>
                  </a:srgbClr>
                </a:solidFill>
                <a:latin typeface="Whitney Book" charset="0"/>
                <a:ea typeface="Whitney Book" charset="0"/>
                <a:cs typeface="Whitney Book" charset="0"/>
              </a:rPr>
              <a:t>есть место открытию</a:t>
            </a: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725031" y="5876030"/>
            <a:ext cx="875922" cy="27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no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72827">
              <a:defRPr/>
            </a:pPr>
            <a:r>
              <a:rPr lang="en-US" sz="1271" dirty="0" err="1">
                <a:solidFill>
                  <a:srgbClr val="00BBE3"/>
                </a:solidFill>
                <a:latin typeface="Whitney Book" pitchFamily="50" charset="0"/>
                <a:cs typeface="Whitney Book" pitchFamily="50" charset="0"/>
              </a:rPr>
              <a:t>open</a:t>
            </a:r>
            <a:r>
              <a:rPr lang="en-US" altLang="x-none" sz="1271" dirty="0" err="1">
                <a:solidFill>
                  <a:srgbClr val="58595B"/>
                </a:solidFill>
                <a:latin typeface="Whitney Book" charset="0"/>
                <a:ea typeface="Whitney Book" charset="0"/>
                <a:cs typeface="Whitney Book" charset="0"/>
              </a:rPr>
              <a:t>.ru</a:t>
            </a:r>
            <a:endParaRPr lang="ru-RU" altLang="x-none" sz="1271" dirty="0">
              <a:solidFill>
                <a:srgbClr val="58595B"/>
              </a:solidFill>
              <a:latin typeface="Whitney Book" charset="0"/>
              <a:ea typeface="Whitney Book" charset="0"/>
              <a:cs typeface="Whitney Book" charset="0"/>
            </a:endParaRPr>
          </a:p>
        </p:txBody>
      </p:sp>
      <p:sp>
        <p:nvSpPr>
          <p:cNvPr id="8" name="Рисунок 2"/>
          <p:cNvSpPr>
            <a:spLocks noGrp="1"/>
          </p:cNvSpPr>
          <p:nvPr>
            <p:ph type="pic" idx="13"/>
          </p:nvPr>
        </p:nvSpPr>
        <p:spPr>
          <a:xfrm>
            <a:off x="1633" y="8"/>
            <a:ext cx="12425323" cy="4065135"/>
          </a:xfrm>
        </p:spPr>
        <p:txBody>
          <a:bodyPr>
            <a:normAutofit/>
          </a:bodyPr>
          <a:lstStyle>
            <a:lvl1pPr marL="0" indent="0">
              <a:buNone/>
              <a:defRPr sz="2539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472615" indent="0">
              <a:buNone/>
              <a:defRPr sz="2901"/>
            </a:lvl2pPr>
            <a:lvl3pPr marL="945230" indent="0">
              <a:buNone/>
              <a:defRPr sz="2447"/>
            </a:lvl3pPr>
            <a:lvl4pPr marL="1417845" indent="0">
              <a:buNone/>
              <a:defRPr sz="2085"/>
            </a:lvl4pPr>
            <a:lvl5pPr marL="1890459" indent="0">
              <a:buNone/>
              <a:defRPr sz="2085"/>
            </a:lvl5pPr>
            <a:lvl6pPr marL="2363073" indent="0">
              <a:buNone/>
              <a:defRPr sz="2085"/>
            </a:lvl6pPr>
            <a:lvl7pPr marL="2835688" indent="0">
              <a:buNone/>
              <a:defRPr sz="2085"/>
            </a:lvl7pPr>
            <a:lvl8pPr marL="3308303" indent="0">
              <a:buNone/>
              <a:defRPr sz="2085"/>
            </a:lvl8pPr>
            <a:lvl9pPr marL="3780916" indent="0">
              <a:buNone/>
              <a:defRPr sz="2085"/>
            </a:lvl9pPr>
          </a:lstStyle>
          <a:p>
            <a:r>
              <a:rPr lang="ru-RU"/>
              <a:t>Чтобы добавить рисунок, перетащите его в заполнитель или щелкните значок</a:t>
            </a:r>
            <a:endParaRPr lang="ru-RU" dirty="0"/>
          </a:p>
        </p:txBody>
      </p:sp>
      <p:sp>
        <p:nvSpPr>
          <p:cNvPr id="9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1138037" y="2792668"/>
            <a:ext cx="4621415" cy="1086451"/>
          </a:xfrm>
        </p:spPr>
        <p:txBody>
          <a:bodyPr anchor="t">
            <a:noAutofit/>
          </a:bodyPr>
          <a:lstStyle>
            <a:lvl1pPr marL="0" marR="0" indent="0" algn="l" defTabSz="47261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95">
                <a:solidFill>
                  <a:schemeClr val="bg1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ru-RU" dirty="0"/>
              <a:t>ОСНОВНОЙ ЗАГОЛОВОК</a:t>
            </a:r>
            <a:br>
              <a:rPr lang="ru-RU" dirty="0"/>
            </a:br>
            <a:r>
              <a:rPr lang="ru-RU" dirty="0"/>
              <a:t>МОЖЕТ БЫТЬ</a:t>
            </a:r>
            <a:br>
              <a:rPr lang="ru-RU" dirty="0"/>
            </a:br>
            <a:r>
              <a:rPr lang="ru-RU" dirty="0"/>
              <a:t>В ТРИ СТРОКИ</a:t>
            </a: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137126" y="3879122"/>
            <a:ext cx="4622329" cy="850543"/>
          </a:xfrm>
        </p:spPr>
        <p:txBody>
          <a:bodyPr anchor="t">
            <a:noAutofit/>
          </a:bodyPr>
          <a:lstStyle>
            <a:lvl1pPr marL="0" marR="0" indent="0" algn="l" defTabSz="47261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69">
                <a:solidFill>
                  <a:srgbClr val="FFFFFF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47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5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7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0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30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5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8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0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Подзаголовок презентации </a:t>
            </a:r>
          </a:p>
          <a:p>
            <a:r>
              <a:rPr lang="ru-RU" dirty="0"/>
              <a:t>так же может занимать </a:t>
            </a:r>
          </a:p>
          <a:p>
            <a:r>
              <a:rPr lang="ru-RU" dirty="0"/>
              <a:t>несколько строк 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08426" y="5531900"/>
            <a:ext cx="4140828" cy="496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8013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в две колонки +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126"/>
            <a:ext cx="11300781" cy="457028"/>
          </a:xfrm>
          <a:noFill/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404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8" name="Текст 2"/>
          <p:cNvSpPr>
            <a:spLocks noGrp="1"/>
          </p:cNvSpPr>
          <p:nvPr>
            <p:ph type="body" sz="quarter" idx="31"/>
          </p:nvPr>
        </p:nvSpPr>
        <p:spPr>
          <a:xfrm>
            <a:off x="523191" y="1632243"/>
            <a:ext cx="5441116" cy="4243829"/>
          </a:xfrm>
        </p:spPr>
        <p:txBody>
          <a:bodyPr lIns="0" tIns="0" rIns="0" bIns="0">
            <a:noAutofit/>
          </a:bodyPr>
          <a:lstStyle>
            <a:lvl1pPr marL="244709" indent="-244709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33"/>
          </p:nvPr>
        </p:nvSpPr>
        <p:spPr>
          <a:xfrm>
            <a:off x="6382854" y="1632243"/>
            <a:ext cx="5441116" cy="4243829"/>
          </a:xfrm>
        </p:spPr>
        <p:txBody>
          <a:bodyPr lIns="0" rIns="0">
            <a:noAutofit/>
          </a:bodyPr>
          <a:lstStyle>
            <a:lvl1pPr marL="258984" indent="-258984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None/>
              <a:defRPr lang="ru-RU" sz="1271" b="0" i="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marL="244709" lvl="0" indent="-244709" algn="l" defTabSz="472404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Font typeface="Arial" charset="0"/>
              <a:buChar char="•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8000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5"/>
            <a:ext cx="209274" cy="16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283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EC0C31-B07A-49E4-9B7C-D736AE5FF4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50" y="1439"/>
          <a:ext cx="1845" cy="14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2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0" y="1439"/>
                        <a:ext cx="1845" cy="14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84568" cy="143955"/>
          </a:xfrm>
          <a:prstGeom prst="rect">
            <a:avLst/>
          </a:prstGeom>
          <a:solidFill>
            <a:srgbClr val="00BBE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62558">
              <a:spcBef>
                <a:spcPct val="0"/>
              </a:spcBef>
              <a:spcAft>
                <a:spcPct val="0"/>
              </a:spcAft>
            </a:pPr>
            <a:endParaRPr lang="en-US" sz="1627" dirty="0">
              <a:solidFill>
                <a:srgbClr val="FFFFFF"/>
              </a:solidFill>
              <a:sym typeface="Whitney Book" pitchFamily="50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1207373" y="51833"/>
            <a:ext cx="91138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56" fontAlgn="base">
              <a:spcBef>
                <a:spcPct val="0"/>
              </a:spcBef>
              <a:spcAft>
                <a:spcPct val="0"/>
              </a:spcAft>
            </a:pPr>
            <a:endParaRPr lang="ru-RU" sz="817" dirty="0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49069" y="6546760"/>
            <a:ext cx="10756553" cy="211387"/>
          </a:xfrm>
          <a:prstGeom prst="rect">
            <a:avLst/>
          </a:prstGeom>
        </p:spPr>
        <p:txBody>
          <a:bodyPr/>
          <a:lstStyle>
            <a:lvl1pPr>
              <a:defRPr sz="903">
                <a:solidFill>
                  <a:srgbClr val="58595B"/>
                </a:solidFill>
              </a:defRPr>
            </a:lvl1pPr>
          </a:lstStyle>
          <a:p>
            <a:pPr lvl="0"/>
            <a:r>
              <a:rPr lang="ru-RU" dirty="0"/>
              <a:t>Источник</a:t>
            </a:r>
            <a:r>
              <a:rPr lang="en-US" dirty="0"/>
              <a:t>:</a:t>
            </a:r>
            <a:endParaRPr lang="ru-RU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437430" y="6303089"/>
            <a:ext cx="11551909" cy="183479"/>
          </a:xfrm>
          <a:prstGeom prst="rect">
            <a:avLst/>
          </a:prstGeom>
        </p:spPr>
        <p:txBody>
          <a:bodyPr numCol="1" anchor="b" anchorCtr="0">
            <a:noAutofit/>
          </a:bodyPr>
          <a:lstStyle>
            <a:lvl1pPr>
              <a:defRPr sz="903" baseline="0">
                <a:solidFill>
                  <a:srgbClr val="58595B"/>
                </a:solidFill>
              </a:defRPr>
            </a:lvl1pPr>
          </a:lstStyle>
          <a:p>
            <a:pPr lvl="0"/>
            <a:r>
              <a:rPr lang="ru-RU" dirty="0"/>
              <a:t>1 Сноски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12766352" y="1548922"/>
            <a:ext cx="2275985" cy="7596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163480" indent="-163480">
              <a:buFont typeface="Arial" panose="020B0604020202020204" pitchFamily="34" charset="0"/>
              <a:buChar char="•"/>
              <a:defRPr/>
            </a:lvl1pPr>
            <a:lvl2pPr marL="404399" indent="-240919">
              <a:buSzPct val="100000"/>
              <a:buFont typeface="Calibri" panose="020F0502020204030204" pitchFamily="34" charset="0"/>
              <a:buChar char="—"/>
              <a:tabLst>
                <a:tab pos="404399" algn="l"/>
              </a:tabLst>
              <a:defRPr baseline="0"/>
            </a:lvl2pPr>
            <a:lvl3pPr marL="404399" indent="193596">
              <a:buSzPct val="100000"/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ru-RU" dirty="0"/>
              <a:t>Первый уровень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</a:p>
          <a:p>
            <a:pPr lvl="2"/>
            <a:endParaRPr lang="ru-RU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12766352" y="2295767"/>
            <a:ext cx="2275985" cy="7596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206502" indent="-206502">
              <a:buFont typeface="+mj-lt"/>
              <a:buAutoNum type="arabicPeriod"/>
              <a:defRPr/>
            </a:lvl1pPr>
            <a:lvl2pPr marL="421608" indent="-206502">
              <a:buSzPct val="100000"/>
              <a:buFont typeface="+mj-lt"/>
              <a:buAutoNum type="alphaLcPeriod"/>
              <a:defRPr baseline="0"/>
            </a:lvl2pPr>
            <a:lvl3pPr marL="602296" indent="-172085">
              <a:buSzPct val="100000"/>
              <a:buFont typeface="+mj-lt"/>
              <a:buAutoNum type="romanLcPeriod"/>
              <a:tabLst>
                <a:tab pos="593692" algn="l"/>
              </a:tabLst>
              <a:defRPr/>
            </a:lvl3pPr>
          </a:lstStyle>
          <a:p>
            <a:pPr lvl="0"/>
            <a:r>
              <a:rPr lang="ru-RU" dirty="0"/>
              <a:t>Первый уровень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2"/>
            <a:endParaRPr lang="ru-RU" dirty="0"/>
          </a:p>
        </p:txBody>
      </p:sp>
      <p:sp>
        <p:nvSpPr>
          <p:cNvPr id="12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7118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одержимое 5"/>
          <p:cNvSpPr>
            <a:spLocks noGrp="1"/>
          </p:cNvSpPr>
          <p:nvPr>
            <p:ph idx="28" hasCustomPrompt="1"/>
          </p:nvPr>
        </p:nvSpPr>
        <p:spPr>
          <a:xfrm>
            <a:off x="510600" y="550140"/>
            <a:ext cx="11185462" cy="47838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FontTx/>
              <a:buNone/>
              <a:defRPr sz="1632">
                <a:solidFill>
                  <a:srgbClr val="00BAE3"/>
                </a:solidFill>
                <a:latin typeface="+mj-lt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6621" y="1035340"/>
            <a:ext cx="10210057" cy="411099"/>
          </a:xfrm>
          <a:prstGeom prst="rect">
            <a:avLst/>
          </a:prstGeom>
        </p:spPr>
        <p:txBody>
          <a:bodyPr vert="horz" lIns="94568" tIns="47284" rIns="94568" bIns="47284" rtlCol="0" anchor="t">
            <a:normAutofit/>
          </a:bodyPr>
          <a:lstStyle>
            <a:lvl1pPr algn="l" defTabSz="521437" rtl="0" eaLnBrk="1" latinLnBrk="0" hangingPunct="1">
              <a:spcBef>
                <a:spcPct val="0"/>
              </a:spcBef>
              <a:buNone/>
              <a:defRPr sz="1600" kern="1200" baseline="0">
                <a:solidFill>
                  <a:srgbClr val="7F7F7F"/>
                </a:solidFill>
                <a:latin typeface="+mj-lt"/>
                <a:ea typeface="+mj-ea"/>
                <a:cs typeface="Arial"/>
              </a:defRPr>
            </a:lvl1pPr>
          </a:lstStyle>
          <a:p>
            <a:endParaRPr lang="ru-RU" sz="1451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510600" y="1042464"/>
            <a:ext cx="11185462" cy="389579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728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51">
                <a:solidFill>
                  <a:srgbClr val="7F7F7F"/>
                </a:solidFill>
                <a:latin typeface="+mj-lt"/>
              </a:defRPr>
            </a:lvl1pPr>
            <a:lvl2pPr>
              <a:defRPr sz="1451">
                <a:latin typeface="+mj-lt"/>
              </a:defRPr>
            </a:lvl2pPr>
            <a:lvl3pPr>
              <a:defRPr sz="1451">
                <a:latin typeface="+mj-lt"/>
              </a:defRPr>
            </a:lvl3pPr>
            <a:lvl4pPr>
              <a:defRPr sz="1451">
                <a:latin typeface="+mj-lt"/>
              </a:defRPr>
            </a:lvl4pPr>
            <a:lvl5pPr>
              <a:defRPr sz="1451">
                <a:latin typeface="+mj-lt"/>
              </a:defRPr>
            </a:lvl5pPr>
          </a:lstStyle>
          <a:p>
            <a:pPr lvl="0"/>
            <a:r>
              <a:rPr lang="uk-UA" dirty="0"/>
              <a:t>ПОДЗАГОЛОВОК СЛАЙДА</a:t>
            </a:r>
          </a:p>
        </p:txBody>
      </p:sp>
      <p:sp>
        <p:nvSpPr>
          <p:cNvPr id="16" name="Дата 3"/>
          <p:cNvSpPr>
            <a:spLocks noGrp="1"/>
          </p:cNvSpPr>
          <p:nvPr>
            <p:ph type="dt" sz="half" idx="10"/>
          </p:nvPr>
        </p:nvSpPr>
        <p:spPr>
          <a:xfrm>
            <a:off x="1486006" y="6091866"/>
            <a:ext cx="1290492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7F7F7F"/>
                </a:solidFill>
                <a:latin typeface="Calibri Light"/>
                <a:cs typeface="Calibri Light"/>
              </a:defRPr>
            </a:lvl1pPr>
          </a:lstStyle>
          <a:p>
            <a:pPr defTabSz="462558"/>
            <a:r>
              <a:rPr lang="en-US" sz="1904"/>
              <a:t>Дата</a:t>
            </a:r>
            <a:endParaRPr lang="ru-RU" sz="1904" dirty="0"/>
          </a:p>
        </p:txBody>
      </p:sp>
      <p:sp>
        <p:nvSpPr>
          <p:cNvPr id="1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76497" y="6091866"/>
            <a:ext cx="3935201" cy="365125"/>
          </a:xfrm>
          <a:prstGeom prst="rect">
            <a:avLst/>
          </a:prstGeom>
        </p:spPr>
        <p:txBody>
          <a:bodyPr/>
          <a:lstStyle>
            <a:lvl1pPr algn="l">
              <a:defRPr b="0" i="0">
                <a:solidFill>
                  <a:srgbClr val="7F7F7F"/>
                </a:solidFill>
                <a:latin typeface="Calibri Light"/>
                <a:cs typeface="Calibri Light"/>
              </a:defRPr>
            </a:lvl1pPr>
          </a:lstStyle>
          <a:p>
            <a:pPr defTabSz="462558"/>
            <a:r>
              <a:rPr lang="ru-RU" sz="1904"/>
              <a:t>Название презентации</a:t>
            </a:r>
            <a:endParaRPr lang="ru-RU" sz="1904" dirty="0"/>
          </a:p>
        </p:txBody>
      </p:sp>
      <p:sp>
        <p:nvSpPr>
          <p:cNvPr id="8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6334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2"/>
          <p:cNvSpPr>
            <a:spLocks noGrp="1"/>
          </p:cNvSpPr>
          <p:nvPr>
            <p:ph type="pic" idx="13"/>
          </p:nvPr>
        </p:nvSpPr>
        <p:spPr>
          <a:xfrm>
            <a:off x="15090" y="8"/>
            <a:ext cx="12425323" cy="40651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39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472448" indent="0">
              <a:buNone/>
              <a:defRPr sz="2899"/>
            </a:lvl2pPr>
            <a:lvl3pPr marL="944898" indent="0">
              <a:buNone/>
              <a:defRPr sz="2447"/>
            </a:lvl3pPr>
            <a:lvl4pPr marL="1417346" indent="0">
              <a:buNone/>
              <a:defRPr sz="2084"/>
            </a:lvl4pPr>
            <a:lvl5pPr marL="1889794" indent="0">
              <a:buNone/>
              <a:defRPr sz="2084"/>
            </a:lvl5pPr>
            <a:lvl6pPr marL="2362242" indent="0">
              <a:buNone/>
              <a:defRPr sz="2084"/>
            </a:lvl6pPr>
            <a:lvl7pPr marL="2834692" indent="0">
              <a:buNone/>
              <a:defRPr sz="2084"/>
            </a:lvl7pPr>
            <a:lvl8pPr marL="3307140" indent="0">
              <a:buNone/>
              <a:defRPr sz="2084"/>
            </a:lvl8pPr>
            <a:lvl9pPr marL="3779588" indent="0">
              <a:buNone/>
              <a:defRPr sz="2084"/>
            </a:lvl9pPr>
          </a:lstStyle>
          <a:p>
            <a:r>
              <a:rPr lang="ru-RU" dirty="0"/>
              <a:t>Чтобы </a:t>
            </a:r>
            <a:r>
              <a:rPr lang="ru-RU"/>
              <a:t>добавить рисунок, </a:t>
            </a:r>
            <a:r>
              <a:rPr lang="ru-RU" dirty="0"/>
              <a:t>перетащите его в заполнитель или щелкните значок</a:t>
            </a:r>
          </a:p>
        </p:txBody>
      </p:sp>
      <p:sp>
        <p:nvSpPr>
          <p:cNvPr id="9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1138037" y="2792668"/>
            <a:ext cx="4621415" cy="1086451"/>
          </a:xfrm>
        </p:spPr>
        <p:txBody>
          <a:bodyPr anchor="t">
            <a:noAutofit/>
          </a:bodyPr>
          <a:lstStyle>
            <a:lvl1pPr marL="0" marR="0" indent="0" algn="l" defTabSz="4724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93">
                <a:solidFill>
                  <a:schemeClr val="bg1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ru-RU" dirty="0"/>
              <a:t>ОСНОВНОЙ ЗАГОЛОВОК</a:t>
            </a:r>
            <a:br>
              <a:rPr lang="ru-RU" dirty="0"/>
            </a:br>
            <a:r>
              <a:rPr lang="ru-RU" dirty="0"/>
              <a:t>МОЖЕТ БЫТЬ</a:t>
            </a:r>
            <a:br>
              <a:rPr lang="ru-RU" dirty="0"/>
            </a:br>
            <a:r>
              <a:rPr lang="ru-RU" dirty="0"/>
              <a:t>В ТРИ СТРОКИ</a:t>
            </a: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137123" y="3879121"/>
            <a:ext cx="4622329" cy="85054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47244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69">
                <a:solidFill>
                  <a:srgbClr val="FFFFFF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472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4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7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89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2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4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7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79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Подзаголовок презентации </a:t>
            </a:r>
          </a:p>
          <a:p>
            <a:r>
              <a:rPr lang="ru-RU" dirty="0"/>
              <a:t>так же может занимать </a:t>
            </a:r>
          </a:p>
          <a:p>
            <a:r>
              <a:rPr lang="ru-RU" dirty="0"/>
              <a:t>несколько строк </a:t>
            </a:r>
          </a:p>
        </p:txBody>
      </p:sp>
      <p:sp>
        <p:nvSpPr>
          <p:cNvPr id="11" name="TextBox 10"/>
          <p:cNvSpPr txBox="1">
            <a:spLocks noChangeArrowheads="1"/>
          </p:cNvSpPr>
          <p:nvPr userDrawn="1"/>
        </p:nvSpPr>
        <p:spPr bwMode="auto">
          <a:xfrm>
            <a:off x="725034" y="5436871"/>
            <a:ext cx="2328964" cy="474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no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62558">
              <a:defRPr/>
            </a:pPr>
            <a:r>
              <a:rPr lang="ru-RU" altLang="x-none" sz="1269" dirty="0">
                <a:solidFill>
                  <a:srgbClr val="58595B">
                    <a:lumMod val="65000"/>
                    <a:lumOff val="35000"/>
                  </a:srgbClr>
                </a:solidFill>
                <a:latin typeface="Whitney Book" charset="0"/>
                <a:ea typeface="Whitney Book" charset="0"/>
                <a:cs typeface="Whitney Book" charset="0"/>
              </a:rPr>
              <a:t>В жизни всегда</a:t>
            </a:r>
            <a:br>
              <a:rPr lang="ru-RU" altLang="x-none" sz="1269" dirty="0">
                <a:solidFill>
                  <a:srgbClr val="58595B">
                    <a:lumMod val="65000"/>
                    <a:lumOff val="35000"/>
                  </a:srgbClr>
                </a:solidFill>
                <a:latin typeface="Whitney Book" charset="0"/>
                <a:ea typeface="Whitney Book" charset="0"/>
                <a:cs typeface="Whitney Book" charset="0"/>
              </a:rPr>
            </a:br>
            <a:r>
              <a:rPr lang="ru-RU" altLang="x-none" sz="1269" dirty="0">
                <a:solidFill>
                  <a:srgbClr val="58595B">
                    <a:lumMod val="65000"/>
                    <a:lumOff val="35000"/>
                  </a:srgbClr>
                </a:solidFill>
                <a:latin typeface="Whitney Book" charset="0"/>
                <a:ea typeface="Whitney Book" charset="0"/>
                <a:cs typeface="Whitney Book" charset="0"/>
              </a:rPr>
              <a:t>есть место открытию</a:t>
            </a:r>
          </a:p>
        </p:txBody>
      </p:sp>
      <p:sp>
        <p:nvSpPr>
          <p:cNvPr id="12" name="TextBox 11"/>
          <p:cNvSpPr txBox="1">
            <a:spLocks noChangeArrowheads="1"/>
          </p:cNvSpPr>
          <p:nvPr userDrawn="1"/>
        </p:nvSpPr>
        <p:spPr bwMode="auto">
          <a:xfrm>
            <a:off x="725031" y="5876030"/>
            <a:ext cx="875922" cy="27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no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62558">
              <a:defRPr/>
            </a:pPr>
            <a:r>
              <a:rPr lang="en-US" altLang="x-none" sz="1269" dirty="0" err="1">
                <a:solidFill>
                  <a:srgbClr val="00BBE4"/>
                </a:solidFill>
                <a:latin typeface="Whitney Book" charset="0"/>
                <a:ea typeface="Whitney Book" charset="0"/>
                <a:cs typeface="Whitney Book" charset="0"/>
              </a:rPr>
              <a:t>open</a:t>
            </a:r>
            <a:r>
              <a:rPr lang="en-US" altLang="x-none" sz="1269" dirty="0" err="1">
                <a:solidFill>
                  <a:srgbClr val="58595B">
                    <a:lumMod val="65000"/>
                    <a:lumOff val="35000"/>
                  </a:srgbClr>
                </a:solidFill>
                <a:latin typeface="Whitney Book" charset="0"/>
                <a:ea typeface="Whitney Book" charset="0"/>
                <a:cs typeface="Whitney Book" charset="0"/>
              </a:rPr>
              <a:t>.ru</a:t>
            </a:r>
            <a:endParaRPr lang="ru-RU" altLang="x-none" sz="1269" dirty="0">
              <a:solidFill>
                <a:srgbClr val="58595B">
                  <a:lumMod val="65000"/>
                  <a:lumOff val="35000"/>
                </a:srgbClr>
              </a:solidFill>
              <a:latin typeface="Whitney Book" charset="0"/>
              <a:ea typeface="Whitney Book" charset="0"/>
              <a:cs typeface="Whitney Book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38086" y="5531899"/>
            <a:ext cx="4102960" cy="495308"/>
          </a:xfrm>
          <a:prstGeom prst="rect">
            <a:avLst/>
          </a:prstGeom>
        </p:spPr>
      </p:pic>
      <p:sp>
        <p:nvSpPr>
          <p:cNvPr id="4" name="Прямоугольник 3"/>
          <p:cNvSpPr/>
          <p:nvPr userDrawn="1"/>
        </p:nvSpPr>
        <p:spPr>
          <a:xfrm>
            <a:off x="466467" y="6498060"/>
            <a:ext cx="444771" cy="26229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19" tIns="41459" rIns="82919" bIns="414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62558"/>
            <a:endParaRPr lang="ru-RU" sz="1088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2095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EC0C31-B07A-49E4-9B7C-D736AE5FF4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54" y="1439"/>
          <a:ext cx="1845" cy="14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4" y="1439"/>
                        <a:ext cx="1845" cy="14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1207373" y="51833"/>
            <a:ext cx="91138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08"/>
            <a:endParaRPr lang="ru-RU" sz="816" dirty="0">
              <a:solidFill>
                <a:srgbClr val="808080"/>
              </a:solidFill>
            </a:endParaRPr>
          </a:p>
        </p:txBody>
      </p:sp>
      <p:sp>
        <p:nvSpPr>
          <p:cNvPr id="13" name="Title Placeholder 2">
            <a:extLst>
              <a:ext uri="{FF2B5EF4-FFF2-40B4-BE49-F238E27FC236}">
                <a16:creationId xmlns:a16="http://schemas.microsoft.com/office/drawing/2014/main" xmlns="" id="{31A3D88F-FDBC-4F51-A078-9785ADF78BB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23188" y="269264"/>
            <a:ext cx="11300781" cy="250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68617762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8065" userDrawn="1">
          <p15:clr>
            <a:srgbClr val="F26B43"/>
          </p15:clr>
        </p15:guide>
        <p15:guide id="2" pos="354" userDrawn="1">
          <p15:clr>
            <a:srgbClr val="F26B43"/>
          </p15:clr>
        </p15:guide>
        <p15:guide id="3" orient="horz" pos="645" userDrawn="1">
          <p15:clr>
            <a:srgbClr val="F26B43"/>
          </p15:clr>
        </p15:guide>
        <p15:guide id="4" orient="horz" pos="4417" userDrawn="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сновной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3573" y="457510"/>
            <a:ext cx="11309179" cy="25039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5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3574" y="1437883"/>
            <a:ext cx="5445162" cy="4443428"/>
          </a:xfrm>
          <a:prstGeom prst="rect">
            <a:avLst/>
          </a:prstGeom>
        </p:spPr>
        <p:txBody>
          <a:bodyPr lIns="91504" tIns="45752" rIns="91504" bIns="45752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6" name="Текст 2"/>
          <p:cNvSpPr>
            <a:spLocks noGrp="1"/>
          </p:cNvSpPr>
          <p:nvPr>
            <p:ph type="body" sz="half" idx="13"/>
          </p:nvPr>
        </p:nvSpPr>
        <p:spPr>
          <a:xfrm>
            <a:off x="6387594" y="1437883"/>
            <a:ext cx="5445162" cy="4443428"/>
          </a:xfrm>
          <a:prstGeom prst="rect">
            <a:avLst/>
          </a:prstGeom>
        </p:spPr>
        <p:txBody>
          <a:bodyPr lIns="91504" tIns="45752" rIns="91504" bIns="45752"/>
          <a:lstStyle/>
          <a:p>
            <a:pPr>
              <a:buClr>
                <a:schemeClr val="accent5"/>
              </a:buClr>
            </a:pPr>
            <a:endParaRPr/>
          </a:p>
        </p:txBody>
      </p:sp>
      <p:sp>
        <p:nvSpPr>
          <p:cNvPr id="4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674541" y="6279836"/>
            <a:ext cx="158213" cy="149840"/>
          </a:xfrm>
          <a:prstGeom prst="rect">
            <a:avLst/>
          </a:prstGeom>
        </p:spPr>
        <p:txBody>
          <a:bodyPr lIns="91504" tIns="45752" rIns="91504" bIns="45752"/>
          <a:lstStyle/>
          <a:p>
            <a:pPr defTabSz="462558"/>
            <a:fld id="{86CB4B4D-7CA3-9044-876B-883B54F8677D}" type="slidenum">
              <a:rPr lang="ru-RU" sz="1904" smtClean="0">
                <a:solidFill>
                  <a:srgbClr val="58595B"/>
                </a:solidFill>
              </a:rPr>
              <a:pPr defTabSz="462558"/>
              <a:t>‹#›</a:t>
            </a:fld>
            <a:endParaRPr lang="ru-RU" sz="1904">
              <a:solidFill>
                <a:srgbClr val="5859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545466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/>
          </p:nvPr>
        </p:nvSpPr>
        <p:spPr>
          <a:xfrm>
            <a:off x="523186" y="457030"/>
            <a:ext cx="11300782" cy="457028"/>
          </a:xfrm>
        </p:spPr>
        <p:txBody>
          <a:bodyPr anchor="t">
            <a:noAutofit/>
          </a:bodyPr>
          <a:lstStyle>
            <a:lvl1pPr algn="l">
              <a:defRPr sz="1113" b="0" i="0"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86" y="1436678"/>
            <a:ext cx="11300782" cy="4440631"/>
          </a:xfrm>
          <a:prstGeom prst="rect">
            <a:avLst/>
          </a:prstGeom>
        </p:spPr>
        <p:txBody>
          <a:bodyPr>
            <a:noAutofit/>
          </a:bodyPr>
          <a:lstStyle>
            <a:lvl1pPr marL="172122" indent="-172122">
              <a:spcBef>
                <a:spcPts val="0"/>
              </a:spcBef>
              <a:spcAft>
                <a:spcPts val="383"/>
              </a:spcAft>
              <a:buClr>
                <a:schemeClr val="bg2"/>
              </a:buClr>
              <a:buFont typeface="Arial" charset="0"/>
              <a:buChar char="•"/>
              <a:defRPr sz="874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874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874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874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874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14502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2 уров, подзаголовок, текст,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sz="quarter" idx="33"/>
          </p:nvPr>
        </p:nvSpPr>
        <p:spPr>
          <a:xfrm>
            <a:off x="6212552" y="0"/>
            <a:ext cx="6223626" cy="68580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83" y="2024488"/>
            <a:ext cx="5441117" cy="39951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399" b="0" i="0">
                <a:solidFill>
                  <a:srgbClr val="58595B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defRPr>
            </a:lvl1pPr>
            <a:lvl2pPr>
              <a:defRPr sz="1399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399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399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399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543242" y="599080"/>
            <a:ext cx="6906033" cy="656756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algn="l">
              <a:defRPr lang="ru-RU" sz="1799" b="0" i="0" cap="all" baseline="0" dirty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defRPr>
            </a:lvl1pPr>
          </a:lstStyle>
          <a:p>
            <a:pPr lvl="0" algn="l"/>
            <a:r>
              <a:rPr lang="ru-RU" dirty="0" smtClean="0">
                <a:solidFill>
                  <a:srgbClr val="00BAE3"/>
                </a:solidFill>
                <a:latin typeface="Whitney Book" pitchFamily="50" charset="0"/>
                <a:cs typeface="Whitney Book" pitchFamily="50" charset="0"/>
              </a:rPr>
              <a:t>Заголовок короткий или не очень, но в </a:t>
            </a:r>
            <a:r>
              <a:rPr lang="ru-RU" dirty="0" smtClean="0">
                <a:solidFill>
                  <a:srgbClr val="00BAE3"/>
                </a:solidFill>
              </a:rPr>
              <a:t>две строки</a:t>
            </a:r>
            <a:endParaRPr lang="ru-RU" dirty="0">
              <a:solidFill>
                <a:srgbClr val="00BAE3"/>
              </a:solidFill>
              <a:latin typeface="Whitney Book" pitchFamily="50" charset="0"/>
              <a:cs typeface="Whitney Book" pitchFamily="50" charset="0"/>
            </a:endParaRPr>
          </a:p>
        </p:txBody>
      </p:sp>
      <p:sp>
        <p:nvSpPr>
          <p:cNvPr id="10" name="Текст 2"/>
          <p:cNvSpPr>
            <a:spLocks noGrp="1"/>
          </p:cNvSpPr>
          <p:nvPr>
            <p:ph type="body" sz="quarter" idx="32" hasCustomPrompt="1"/>
          </p:nvPr>
        </p:nvSpPr>
        <p:spPr>
          <a:xfrm>
            <a:off x="543242" y="1255836"/>
            <a:ext cx="6906033" cy="39173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defRPr lang="ru-RU" sz="1600" b="0" i="0" cap="all" baseline="0" dirty="0">
                <a:solidFill>
                  <a:srgbClr val="58595B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defRPr>
            </a:lvl1pPr>
          </a:lstStyle>
          <a:p>
            <a:pPr lvl="0" defTabSz="521228">
              <a:spcBef>
                <a:spcPct val="0"/>
              </a:spcBef>
            </a:pPr>
            <a:r>
              <a:rPr lang="ru-RU" dirty="0" smtClean="0">
                <a:latin typeface="Whitney Book" pitchFamily="50" charset="0"/>
                <a:cs typeface="Whitney Book" pitchFamily="50" charset="0"/>
              </a:rPr>
              <a:t>Подзаголовок в две строки</a:t>
            </a:r>
            <a:endParaRPr lang="ru-RU" dirty="0"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4004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16429" y="6356351"/>
            <a:ext cx="4194095" cy="36512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854353" y="6356351"/>
            <a:ext cx="2796064" cy="36512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0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776533" y="6356351"/>
            <a:ext cx="2796064" cy="36512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1354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EC0C31-B07A-49E4-9B7C-D736AE5FF4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50" y="1439"/>
          <a:ext cx="1845" cy="14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0" y="1439"/>
                        <a:ext cx="1845" cy="14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84568" cy="143955"/>
          </a:xfrm>
          <a:prstGeom prst="rect">
            <a:avLst/>
          </a:prstGeom>
          <a:solidFill>
            <a:srgbClr val="00BBE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62558">
              <a:spcBef>
                <a:spcPct val="0"/>
              </a:spcBef>
              <a:spcAft>
                <a:spcPct val="0"/>
              </a:spcAft>
            </a:pPr>
            <a:endParaRPr lang="en-US" sz="1627" dirty="0">
              <a:solidFill>
                <a:srgbClr val="FFFFFF"/>
              </a:solidFill>
              <a:sym typeface="Whitney Book" pitchFamily="50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1207373" y="51833"/>
            <a:ext cx="91138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56" fontAlgn="base">
              <a:spcBef>
                <a:spcPct val="0"/>
              </a:spcBef>
              <a:spcAft>
                <a:spcPct val="0"/>
              </a:spcAft>
            </a:pPr>
            <a:endParaRPr lang="ru-RU" sz="817" dirty="0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49069" y="6546760"/>
            <a:ext cx="10756553" cy="211387"/>
          </a:xfrm>
          <a:prstGeom prst="rect">
            <a:avLst/>
          </a:prstGeom>
        </p:spPr>
        <p:txBody>
          <a:bodyPr/>
          <a:lstStyle>
            <a:lvl1pPr>
              <a:defRPr sz="903">
                <a:solidFill>
                  <a:srgbClr val="58595B"/>
                </a:solidFill>
              </a:defRPr>
            </a:lvl1pPr>
          </a:lstStyle>
          <a:p>
            <a:pPr lvl="0"/>
            <a:r>
              <a:rPr lang="ru-RU" dirty="0"/>
              <a:t>Источник</a:t>
            </a:r>
            <a:r>
              <a:rPr lang="en-US" dirty="0"/>
              <a:t>:</a:t>
            </a:r>
            <a:endParaRPr lang="ru-RU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437430" y="6303089"/>
            <a:ext cx="11551909" cy="183479"/>
          </a:xfrm>
          <a:prstGeom prst="rect">
            <a:avLst/>
          </a:prstGeom>
        </p:spPr>
        <p:txBody>
          <a:bodyPr numCol="1" anchor="b" anchorCtr="0">
            <a:noAutofit/>
          </a:bodyPr>
          <a:lstStyle>
            <a:lvl1pPr>
              <a:defRPr sz="903" baseline="0">
                <a:solidFill>
                  <a:srgbClr val="58595B"/>
                </a:solidFill>
              </a:defRPr>
            </a:lvl1pPr>
          </a:lstStyle>
          <a:p>
            <a:pPr lvl="0"/>
            <a:r>
              <a:rPr lang="ru-RU" dirty="0"/>
              <a:t>1 Сноски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12766352" y="1548922"/>
            <a:ext cx="2275985" cy="7596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163480" indent="-163480">
              <a:buFont typeface="Arial" panose="020B0604020202020204" pitchFamily="34" charset="0"/>
              <a:buChar char="•"/>
              <a:defRPr/>
            </a:lvl1pPr>
            <a:lvl2pPr marL="404399" indent="-240919">
              <a:buSzPct val="100000"/>
              <a:buFont typeface="Calibri" panose="020F0502020204030204" pitchFamily="34" charset="0"/>
              <a:buChar char="—"/>
              <a:tabLst>
                <a:tab pos="404399" algn="l"/>
              </a:tabLst>
              <a:defRPr baseline="0"/>
            </a:lvl2pPr>
            <a:lvl3pPr marL="404399" indent="193596">
              <a:buSzPct val="100000"/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ru-RU" dirty="0"/>
              <a:t>Первый уровень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</a:p>
          <a:p>
            <a:pPr lvl="2"/>
            <a:endParaRPr lang="ru-RU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12766352" y="2295767"/>
            <a:ext cx="2275985" cy="7596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206502" indent="-206502">
              <a:buFont typeface="+mj-lt"/>
              <a:buAutoNum type="arabicPeriod"/>
              <a:defRPr/>
            </a:lvl1pPr>
            <a:lvl2pPr marL="421608" indent="-206502">
              <a:buSzPct val="100000"/>
              <a:buFont typeface="+mj-lt"/>
              <a:buAutoNum type="alphaLcPeriod"/>
              <a:defRPr baseline="0"/>
            </a:lvl2pPr>
            <a:lvl3pPr marL="602296" indent="-172085">
              <a:buSzPct val="100000"/>
              <a:buFont typeface="+mj-lt"/>
              <a:buAutoNum type="romanLcPeriod"/>
              <a:tabLst>
                <a:tab pos="593692" algn="l"/>
              </a:tabLst>
              <a:defRPr/>
            </a:lvl3pPr>
          </a:lstStyle>
          <a:p>
            <a:pPr lvl="0"/>
            <a:r>
              <a:rPr lang="ru-RU" dirty="0"/>
              <a:t>Первый уровень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2"/>
            <a:endParaRPr lang="ru-RU" dirty="0"/>
          </a:p>
        </p:txBody>
      </p:sp>
      <p:sp>
        <p:nvSpPr>
          <p:cNvPr id="12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55305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030"/>
            <a:ext cx="11300781" cy="457028"/>
          </a:xfrm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88" y="1436677"/>
            <a:ext cx="11300781" cy="4440631"/>
          </a:xfrm>
        </p:spPr>
        <p:txBody>
          <a:bodyPr lIns="0" tIns="0" rIns="0" bIns="0">
            <a:noAutofit/>
          </a:bodyPr>
          <a:lstStyle>
            <a:lvl1pPr marL="244818" indent="-244818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</a:defRPr>
            </a:lvl2pPr>
            <a:lvl3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</a:defRPr>
            </a:lvl3pPr>
            <a:lvl4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</a:defRPr>
            </a:lvl4pPr>
            <a:lvl5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10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сновной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3573" y="457510"/>
            <a:ext cx="11309179" cy="25039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5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3574" y="1437883"/>
            <a:ext cx="5445162" cy="4443428"/>
          </a:xfrm>
          <a:prstGeom prst="rect">
            <a:avLst/>
          </a:prstGeom>
        </p:spPr>
        <p:txBody>
          <a:bodyPr lIns="91504" tIns="45752" rIns="91504" bIns="45752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6" name="Текст 2"/>
          <p:cNvSpPr>
            <a:spLocks noGrp="1"/>
          </p:cNvSpPr>
          <p:nvPr>
            <p:ph type="body" sz="half" idx="13"/>
          </p:nvPr>
        </p:nvSpPr>
        <p:spPr>
          <a:xfrm>
            <a:off x="6387594" y="1437883"/>
            <a:ext cx="5445162" cy="4443428"/>
          </a:xfrm>
          <a:prstGeom prst="rect">
            <a:avLst/>
          </a:prstGeom>
        </p:spPr>
        <p:txBody>
          <a:bodyPr lIns="91504" tIns="45752" rIns="91504" bIns="45752"/>
          <a:lstStyle/>
          <a:p>
            <a:pPr>
              <a:buClr>
                <a:schemeClr val="accent5"/>
              </a:buClr>
            </a:pPr>
            <a:endParaRPr/>
          </a:p>
        </p:txBody>
      </p:sp>
      <p:sp>
        <p:nvSpPr>
          <p:cNvPr id="4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674541" y="6279836"/>
            <a:ext cx="158213" cy="149840"/>
          </a:xfrm>
          <a:prstGeom prst="rect">
            <a:avLst/>
          </a:prstGeom>
        </p:spPr>
        <p:txBody>
          <a:bodyPr lIns="91504" tIns="45752" rIns="91504" bIns="45752"/>
          <a:lstStyle/>
          <a:p>
            <a:pPr defTabSz="462558"/>
            <a:fld id="{86CB4B4D-7CA3-9044-876B-883B54F8677D}" type="slidenum">
              <a:rPr lang="ru-RU" sz="1904" smtClean="0">
                <a:solidFill>
                  <a:srgbClr val="58595B"/>
                </a:solidFill>
              </a:rPr>
              <a:pPr defTabSz="462558"/>
              <a:t>‹#›</a:t>
            </a:fld>
            <a:endParaRPr lang="ru-RU" sz="1904">
              <a:solidFill>
                <a:srgbClr val="5859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327598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EC0C31-B07A-49E4-9B7C-D736AE5FF4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50" y="1439"/>
          <a:ext cx="1845" cy="14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97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0" y="1439"/>
                        <a:ext cx="1845" cy="14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84568" cy="143955"/>
          </a:xfrm>
          <a:prstGeom prst="rect">
            <a:avLst/>
          </a:prstGeom>
          <a:solidFill>
            <a:srgbClr val="00BBE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62558">
              <a:spcBef>
                <a:spcPct val="0"/>
              </a:spcBef>
              <a:spcAft>
                <a:spcPct val="0"/>
              </a:spcAft>
            </a:pPr>
            <a:endParaRPr lang="en-US" sz="1627" dirty="0">
              <a:solidFill>
                <a:srgbClr val="FFFFFF"/>
              </a:solidFill>
              <a:sym typeface="Whitney Book" pitchFamily="50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1207373" y="51833"/>
            <a:ext cx="91138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56" fontAlgn="base">
              <a:spcBef>
                <a:spcPct val="0"/>
              </a:spcBef>
              <a:spcAft>
                <a:spcPct val="0"/>
              </a:spcAft>
            </a:pPr>
            <a:endParaRPr lang="ru-RU" sz="817" dirty="0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49069" y="6546760"/>
            <a:ext cx="10756553" cy="211387"/>
          </a:xfrm>
          <a:prstGeom prst="rect">
            <a:avLst/>
          </a:prstGeom>
        </p:spPr>
        <p:txBody>
          <a:bodyPr/>
          <a:lstStyle>
            <a:lvl1pPr>
              <a:defRPr sz="903">
                <a:solidFill>
                  <a:srgbClr val="58595B"/>
                </a:solidFill>
              </a:defRPr>
            </a:lvl1pPr>
          </a:lstStyle>
          <a:p>
            <a:pPr lvl="0"/>
            <a:r>
              <a:rPr lang="ru-RU" dirty="0"/>
              <a:t>Источник</a:t>
            </a:r>
            <a:r>
              <a:rPr lang="en-US" dirty="0"/>
              <a:t>:</a:t>
            </a:r>
            <a:endParaRPr lang="ru-RU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437430" y="6303089"/>
            <a:ext cx="11551909" cy="183479"/>
          </a:xfrm>
          <a:prstGeom prst="rect">
            <a:avLst/>
          </a:prstGeom>
        </p:spPr>
        <p:txBody>
          <a:bodyPr numCol="1" anchor="b" anchorCtr="0">
            <a:noAutofit/>
          </a:bodyPr>
          <a:lstStyle>
            <a:lvl1pPr>
              <a:defRPr sz="903" baseline="0">
                <a:solidFill>
                  <a:srgbClr val="58595B"/>
                </a:solidFill>
              </a:defRPr>
            </a:lvl1pPr>
          </a:lstStyle>
          <a:p>
            <a:pPr lvl="0"/>
            <a:r>
              <a:rPr lang="ru-RU" dirty="0"/>
              <a:t>1 Сноски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12766352" y="1548922"/>
            <a:ext cx="2275985" cy="7596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163480" indent="-163480">
              <a:buFont typeface="Arial" panose="020B0604020202020204" pitchFamily="34" charset="0"/>
              <a:buChar char="•"/>
              <a:defRPr/>
            </a:lvl1pPr>
            <a:lvl2pPr marL="404399" indent="-240919">
              <a:buSzPct val="100000"/>
              <a:buFont typeface="Calibri" panose="020F0502020204030204" pitchFamily="34" charset="0"/>
              <a:buChar char="—"/>
              <a:tabLst>
                <a:tab pos="404399" algn="l"/>
              </a:tabLst>
              <a:defRPr baseline="0"/>
            </a:lvl2pPr>
            <a:lvl3pPr marL="404399" indent="193596">
              <a:buSzPct val="100000"/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ru-RU" dirty="0"/>
              <a:t>Первый уровень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</a:p>
          <a:p>
            <a:pPr lvl="2"/>
            <a:endParaRPr lang="ru-RU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12766352" y="2295767"/>
            <a:ext cx="2275985" cy="7596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206502" indent="-206502">
              <a:buFont typeface="+mj-lt"/>
              <a:buAutoNum type="arabicPeriod"/>
              <a:defRPr/>
            </a:lvl1pPr>
            <a:lvl2pPr marL="421608" indent="-206502">
              <a:buSzPct val="100000"/>
              <a:buFont typeface="+mj-lt"/>
              <a:buAutoNum type="alphaLcPeriod"/>
              <a:defRPr baseline="0"/>
            </a:lvl2pPr>
            <a:lvl3pPr marL="602296" indent="-172085">
              <a:buSzPct val="100000"/>
              <a:buFont typeface="+mj-lt"/>
              <a:buAutoNum type="romanLcPeriod"/>
              <a:tabLst>
                <a:tab pos="593692" algn="l"/>
              </a:tabLst>
              <a:defRPr/>
            </a:lvl3pPr>
          </a:lstStyle>
          <a:p>
            <a:pPr lvl="0"/>
            <a:r>
              <a:rPr lang="ru-RU" dirty="0"/>
              <a:t>Первый уровень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2"/>
            <a:endParaRPr lang="ru-RU" dirty="0"/>
          </a:p>
        </p:txBody>
      </p:sp>
      <p:sp>
        <p:nvSpPr>
          <p:cNvPr id="12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3999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EC0C31-B07A-49E4-9B7C-D736AE5FF4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50" y="1439"/>
          <a:ext cx="1845" cy="14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4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0" y="1439"/>
                        <a:ext cx="1845" cy="14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84568" cy="143955"/>
          </a:xfrm>
          <a:prstGeom prst="rect">
            <a:avLst/>
          </a:prstGeom>
          <a:solidFill>
            <a:srgbClr val="00BBE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62558">
              <a:spcBef>
                <a:spcPct val="0"/>
              </a:spcBef>
              <a:spcAft>
                <a:spcPct val="0"/>
              </a:spcAft>
            </a:pPr>
            <a:endParaRPr lang="en-US" sz="1627" dirty="0">
              <a:solidFill>
                <a:srgbClr val="FFFFFF"/>
              </a:solidFill>
              <a:sym typeface="Whitney Book" pitchFamily="50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1207373" y="51833"/>
            <a:ext cx="91138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56" fontAlgn="base">
              <a:spcBef>
                <a:spcPct val="0"/>
              </a:spcBef>
              <a:spcAft>
                <a:spcPct val="0"/>
              </a:spcAft>
            </a:pPr>
            <a:endParaRPr lang="ru-RU" sz="817" dirty="0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49069" y="6546760"/>
            <a:ext cx="10756553" cy="211387"/>
          </a:xfrm>
          <a:prstGeom prst="rect">
            <a:avLst/>
          </a:prstGeom>
        </p:spPr>
        <p:txBody>
          <a:bodyPr/>
          <a:lstStyle>
            <a:lvl1pPr>
              <a:defRPr sz="903">
                <a:solidFill>
                  <a:srgbClr val="58595B"/>
                </a:solidFill>
              </a:defRPr>
            </a:lvl1pPr>
          </a:lstStyle>
          <a:p>
            <a:pPr lvl="0"/>
            <a:r>
              <a:rPr lang="ru-RU" dirty="0"/>
              <a:t>Источник</a:t>
            </a:r>
            <a:r>
              <a:rPr lang="en-US" dirty="0"/>
              <a:t>:</a:t>
            </a:r>
            <a:endParaRPr lang="ru-RU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437430" y="6303089"/>
            <a:ext cx="11551909" cy="183479"/>
          </a:xfrm>
          <a:prstGeom prst="rect">
            <a:avLst/>
          </a:prstGeom>
        </p:spPr>
        <p:txBody>
          <a:bodyPr numCol="1" anchor="b" anchorCtr="0">
            <a:noAutofit/>
          </a:bodyPr>
          <a:lstStyle>
            <a:lvl1pPr>
              <a:defRPr sz="903" baseline="0">
                <a:solidFill>
                  <a:srgbClr val="58595B"/>
                </a:solidFill>
              </a:defRPr>
            </a:lvl1pPr>
          </a:lstStyle>
          <a:p>
            <a:pPr lvl="0"/>
            <a:r>
              <a:rPr lang="ru-RU" dirty="0"/>
              <a:t>1 Сноски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12766352" y="1548922"/>
            <a:ext cx="2275985" cy="7596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163480" indent="-163480">
              <a:buFont typeface="Arial" panose="020B0604020202020204" pitchFamily="34" charset="0"/>
              <a:buChar char="•"/>
              <a:defRPr/>
            </a:lvl1pPr>
            <a:lvl2pPr marL="404399" indent="-240919">
              <a:buSzPct val="100000"/>
              <a:buFont typeface="Calibri" panose="020F0502020204030204" pitchFamily="34" charset="0"/>
              <a:buChar char="—"/>
              <a:tabLst>
                <a:tab pos="404399" algn="l"/>
              </a:tabLst>
              <a:defRPr baseline="0"/>
            </a:lvl2pPr>
            <a:lvl3pPr marL="404399" indent="193596">
              <a:buSzPct val="100000"/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ru-RU" dirty="0"/>
              <a:t>Первый уровень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</a:p>
          <a:p>
            <a:pPr lvl="2"/>
            <a:endParaRPr lang="ru-RU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12766352" y="2295767"/>
            <a:ext cx="2275985" cy="7596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206502" indent="-206502">
              <a:buFont typeface="+mj-lt"/>
              <a:buAutoNum type="arabicPeriod"/>
              <a:defRPr/>
            </a:lvl1pPr>
            <a:lvl2pPr marL="421608" indent="-206502">
              <a:buSzPct val="100000"/>
              <a:buFont typeface="+mj-lt"/>
              <a:buAutoNum type="alphaLcPeriod"/>
              <a:defRPr baseline="0"/>
            </a:lvl2pPr>
            <a:lvl3pPr marL="602296" indent="-172085">
              <a:buSzPct val="100000"/>
              <a:buFont typeface="+mj-lt"/>
              <a:buAutoNum type="romanLcPeriod"/>
              <a:tabLst>
                <a:tab pos="593692" algn="l"/>
              </a:tabLst>
              <a:defRPr/>
            </a:lvl3pPr>
          </a:lstStyle>
          <a:p>
            <a:pPr lvl="0"/>
            <a:r>
              <a:rPr lang="ru-RU" dirty="0"/>
              <a:t>Первый уровень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2"/>
            <a:endParaRPr lang="ru-RU" dirty="0"/>
          </a:p>
        </p:txBody>
      </p:sp>
      <p:sp>
        <p:nvSpPr>
          <p:cNvPr id="12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029244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AEC0C31-B07A-49E4-9B7C-D736AE5FF4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50" y="1439"/>
          <a:ext cx="1845" cy="14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4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0" y="1439"/>
                        <a:ext cx="1845" cy="14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84568" cy="143955"/>
          </a:xfrm>
          <a:prstGeom prst="rect">
            <a:avLst/>
          </a:prstGeom>
          <a:solidFill>
            <a:srgbClr val="00BBE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62558">
              <a:spcBef>
                <a:spcPct val="0"/>
              </a:spcBef>
              <a:spcAft>
                <a:spcPct val="0"/>
              </a:spcAft>
            </a:pPr>
            <a:endParaRPr lang="en-US" sz="1627" dirty="0">
              <a:solidFill>
                <a:srgbClr val="FFFFFF"/>
              </a:solidFill>
              <a:sym typeface="Whitney Book" pitchFamily="50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1207373" y="51833"/>
            <a:ext cx="91138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56" fontAlgn="base">
              <a:spcBef>
                <a:spcPct val="0"/>
              </a:spcBef>
              <a:spcAft>
                <a:spcPct val="0"/>
              </a:spcAft>
            </a:pPr>
            <a:endParaRPr lang="ru-RU" sz="817" dirty="0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49069" y="6546760"/>
            <a:ext cx="10756553" cy="211387"/>
          </a:xfrm>
          <a:prstGeom prst="rect">
            <a:avLst/>
          </a:prstGeom>
        </p:spPr>
        <p:txBody>
          <a:bodyPr/>
          <a:lstStyle>
            <a:lvl1pPr>
              <a:defRPr sz="903">
                <a:solidFill>
                  <a:srgbClr val="58595B"/>
                </a:solidFill>
              </a:defRPr>
            </a:lvl1pPr>
          </a:lstStyle>
          <a:p>
            <a:pPr lvl="0"/>
            <a:r>
              <a:rPr lang="ru-RU" dirty="0"/>
              <a:t>Источник</a:t>
            </a:r>
            <a:r>
              <a:rPr lang="en-US" dirty="0"/>
              <a:t>:</a:t>
            </a:r>
            <a:endParaRPr lang="ru-RU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437430" y="6303089"/>
            <a:ext cx="11551909" cy="183479"/>
          </a:xfrm>
          <a:prstGeom prst="rect">
            <a:avLst/>
          </a:prstGeom>
        </p:spPr>
        <p:txBody>
          <a:bodyPr numCol="1" anchor="b" anchorCtr="0">
            <a:noAutofit/>
          </a:bodyPr>
          <a:lstStyle>
            <a:lvl1pPr>
              <a:defRPr sz="903" baseline="0">
                <a:solidFill>
                  <a:srgbClr val="58595B"/>
                </a:solidFill>
              </a:defRPr>
            </a:lvl1pPr>
          </a:lstStyle>
          <a:p>
            <a:pPr lvl="0"/>
            <a:r>
              <a:rPr lang="ru-RU" dirty="0"/>
              <a:t>1 Сноски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12766352" y="1548922"/>
            <a:ext cx="2275985" cy="7596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163480" indent="-163480">
              <a:buFont typeface="Arial" panose="020B0604020202020204" pitchFamily="34" charset="0"/>
              <a:buChar char="•"/>
              <a:defRPr/>
            </a:lvl1pPr>
            <a:lvl2pPr marL="404399" indent="-240919">
              <a:buSzPct val="100000"/>
              <a:buFont typeface="Calibri" panose="020F0502020204030204" pitchFamily="34" charset="0"/>
              <a:buChar char="—"/>
              <a:tabLst>
                <a:tab pos="404399" algn="l"/>
              </a:tabLst>
              <a:defRPr baseline="0"/>
            </a:lvl2pPr>
            <a:lvl3pPr marL="404399" indent="193596">
              <a:buSzPct val="100000"/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ru-RU" dirty="0"/>
              <a:t>Первый уровень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</a:p>
          <a:p>
            <a:pPr lvl="2"/>
            <a:endParaRPr lang="ru-RU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12766352" y="2295767"/>
            <a:ext cx="2275985" cy="7596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206502" indent="-206502">
              <a:buFont typeface="+mj-lt"/>
              <a:buAutoNum type="arabicPeriod"/>
              <a:defRPr/>
            </a:lvl1pPr>
            <a:lvl2pPr marL="421608" indent="-206502">
              <a:buSzPct val="100000"/>
              <a:buFont typeface="+mj-lt"/>
              <a:buAutoNum type="alphaLcPeriod"/>
              <a:defRPr baseline="0"/>
            </a:lvl2pPr>
            <a:lvl3pPr marL="602296" indent="-172085">
              <a:buSzPct val="100000"/>
              <a:buFont typeface="+mj-lt"/>
              <a:buAutoNum type="romanLcPeriod"/>
              <a:tabLst>
                <a:tab pos="593692" algn="l"/>
              </a:tabLst>
              <a:defRPr/>
            </a:lvl3pPr>
          </a:lstStyle>
          <a:p>
            <a:pPr lvl="0"/>
            <a:r>
              <a:rPr lang="ru-RU" dirty="0"/>
              <a:t>Первый уровень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2"/>
            <a:endParaRPr lang="ru-RU" dirty="0"/>
          </a:p>
        </p:txBody>
      </p:sp>
      <p:sp>
        <p:nvSpPr>
          <p:cNvPr id="12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4661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сновной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3573" y="457510"/>
            <a:ext cx="11309179" cy="25039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5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3574" y="1437883"/>
            <a:ext cx="5445162" cy="4443428"/>
          </a:xfrm>
          <a:prstGeom prst="rect">
            <a:avLst/>
          </a:prstGeom>
        </p:spPr>
        <p:txBody>
          <a:bodyPr lIns="91504" tIns="45752" rIns="91504" bIns="45752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6" name="Текст 2"/>
          <p:cNvSpPr>
            <a:spLocks noGrp="1"/>
          </p:cNvSpPr>
          <p:nvPr>
            <p:ph type="body" sz="half" idx="13"/>
          </p:nvPr>
        </p:nvSpPr>
        <p:spPr>
          <a:xfrm>
            <a:off x="6387594" y="1437883"/>
            <a:ext cx="5445162" cy="4443428"/>
          </a:xfrm>
          <a:prstGeom prst="rect">
            <a:avLst/>
          </a:prstGeom>
        </p:spPr>
        <p:txBody>
          <a:bodyPr lIns="91504" tIns="45752" rIns="91504" bIns="45752"/>
          <a:lstStyle/>
          <a:p>
            <a:pPr>
              <a:buClr>
                <a:schemeClr val="accent5"/>
              </a:buClr>
            </a:pPr>
            <a:endParaRPr/>
          </a:p>
        </p:txBody>
      </p:sp>
      <p:sp>
        <p:nvSpPr>
          <p:cNvPr id="4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674541" y="6279836"/>
            <a:ext cx="158213" cy="149840"/>
          </a:xfrm>
          <a:prstGeom prst="rect">
            <a:avLst/>
          </a:prstGeom>
        </p:spPr>
        <p:txBody>
          <a:bodyPr lIns="91504" tIns="45752" rIns="91504" bIns="45752"/>
          <a:lstStyle/>
          <a:p>
            <a:pPr defTabSz="462558"/>
            <a:fld id="{86CB4B4D-7CA3-9044-876B-883B54F8677D}" type="slidenum">
              <a:rPr lang="ru-RU" sz="1904" smtClean="0">
                <a:solidFill>
                  <a:srgbClr val="58595B"/>
                </a:solidFill>
              </a:rPr>
              <a:pPr defTabSz="462558"/>
              <a:t>‹#›</a:t>
            </a:fld>
            <a:endParaRPr lang="ru-RU" sz="1904">
              <a:solidFill>
                <a:srgbClr val="5859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05321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25034" y="5436871"/>
            <a:ext cx="2328964" cy="474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no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72827">
              <a:defRPr/>
            </a:pPr>
            <a:r>
              <a:rPr lang="ru-RU" altLang="x-none" sz="1269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charset="0"/>
                <a:ea typeface="Calibri" charset="0"/>
                <a:cs typeface="Calibri" charset="0"/>
              </a:rPr>
              <a:t>В жизни всегда</a:t>
            </a:r>
            <a:br>
              <a:rPr lang="ru-RU" altLang="x-none" sz="1269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charset="0"/>
                <a:ea typeface="Calibri" charset="0"/>
                <a:cs typeface="Calibri" charset="0"/>
              </a:rPr>
            </a:br>
            <a:r>
              <a:rPr lang="ru-RU" altLang="x-none" sz="1269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charset="0"/>
                <a:ea typeface="Calibri" charset="0"/>
                <a:cs typeface="Calibri" charset="0"/>
              </a:rPr>
              <a:t>есть место открытию</a:t>
            </a: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725031" y="5876030"/>
            <a:ext cx="875922" cy="27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no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72827">
              <a:defRPr/>
            </a:pPr>
            <a:r>
              <a:rPr lang="en-US" sz="1271" dirty="0" err="1">
                <a:solidFill>
                  <a:srgbClr val="00BBE3"/>
                </a:solidFill>
                <a:latin typeface="Calibri" charset="0"/>
                <a:ea typeface="Calibri" charset="0"/>
                <a:cs typeface="Calibri" charset="0"/>
              </a:rPr>
              <a:t>open</a:t>
            </a:r>
            <a:r>
              <a:rPr lang="en-US" altLang="x-none" sz="1271" dirty="0" err="1">
                <a:solidFill>
                  <a:srgbClr val="58595B"/>
                </a:solidFill>
                <a:latin typeface="Calibri" charset="0"/>
                <a:ea typeface="Calibri" charset="0"/>
                <a:cs typeface="Calibri" charset="0"/>
              </a:rPr>
              <a:t>.ru</a:t>
            </a:r>
            <a:endParaRPr lang="ru-RU" altLang="x-none" sz="1271" dirty="0">
              <a:solidFill>
                <a:srgbClr val="58595B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8" name="Рисунок 2"/>
          <p:cNvSpPr>
            <a:spLocks noGrp="1"/>
          </p:cNvSpPr>
          <p:nvPr>
            <p:ph type="pic" idx="13"/>
          </p:nvPr>
        </p:nvSpPr>
        <p:spPr>
          <a:xfrm>
            <a:off x="1633" y="3"/>
            <a:ext cx="12425323" cy="4065135"/>
          </a:xfrm>
        </p:spPr>
        <p:txBody>
          <a:bodyPr>
            <a:normAutofit/>
          </a:bodyPr>
          <a:lstStyle>
            <a:lvl1pPr marL="0" indent="0">
              <a:buNone/>
              <a:defRPr sz="2539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72639" indent="0">
              <a:buNone/>
              <a:defRPr sz="2901"/>
            </a:lvl2pPr>
            <a:lvl3pPr marL="945275" indent="0">
              <a:buNone/>
              <a:defRPr sz="2447"/>
            </a:lvl3pPr>
            <a:lvl4pPr marL="1417914" indent="0">
              <a:buNone/>
              <a:defRPr sz="2085"/>
            </a:lvl4pPr>
            <a:lvl5pPr marL="1890551" indent="0">
              <a:buNone/>
              <a:defRPr sz="2085"/>
            </a:lvl5pPr>
            <a:lvl6pPr marL="2363189" indent="0">
              <a:buNone/>
              <a:defRPr sz="2085"/>
            </a:lvl6pPr>
            <a:lvl7pPr marL="2835828" indent="0">
              <a:buNone/>
              <a:defRPr sz="2085"/>
            </a:lvl7pPr>
            <a:lvl8pPr marL="3308464" indent="0">
              <a:buNone/>
              <a:defRPr sz="2085"/>
            </a:lvl8pPr>
            <a:lvl9pPr marL="3781101" indent="0">
              <a:buNone/>
              <a:defRPr sz="2085"/>
            </a:lvl9pPr>
          </a:lstStyle>
          <a:p>
            <a:r>
              <a:rPr lang="ru-RU"/>
              <a:t>Чтобы добавить рисунок, перетащите его в заполнитель или щелкните значок</a:t>
            </a:r>
            <a:endParaRPr lang="ru-RU" dirty="0"/>
          </a:p>
        </p:txBody>
      </p:sp>
      <p:sp>
        <p:nvSpPr>
          <p:cNvPr id="9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1138036" y="2792668"/>
            <a:ext cx="4621415" cy="1086451"/>
          </a:xfrm>
        </p:spPr>
        <p:txBody>
          <a:bodyPr anchor="t">
            <a:noAutofit/>
          </a:bodyPr>
          <a:lstStyle>
            <a:lvl1pPr marL="0" marR="0" indent="0" algn="l" defTabSz="47263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95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ОСНОВНОЙ ЗАГОЛОВОК</a:t>
            </a:r>
            <a:br>
              <a:rPr lang="ru-RU" dirty="0"/>
            </a:br>
            <a:r>
              <a:rPr lang="ru-RU" dirty="0"/>
              <a:t>МОЖЕТ БЫТЬ</a:t>
            </a:r>
            <a:br>
              <a:rPr lang="ru-RU" dirty="0"/>
            </a:br>
            <a:r>
              <a:rPr lang="ru-RU" dirty="0"/>
              <a:t>В ТРИ СТРОКИ</a:t>
            </a: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137123" y="3879120"/>
            <a:ext cx="4622329" cy="850543"/>
          </a:xfrm>
        </p:spPr>
        <p:txBody>
          <a:bodyPr anchor="t">
            <a:noAutofit/>
          </a:bodyPr>
          <a:lstStyle>
            <a:lvl1pPr marL="0" marR="0" indent="0" algn="l" defTabSz="47263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69" b="0" i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72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5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7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0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3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5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8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1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Подзаголовок презентации </a:t>
            </a:r>
          </a:p>
          <a:p>
            <a:r>
              <a:rPr lang="ru-RU" dirty="0"/>
              <a:t>так же может занимать </a:t>
            </a:r>
          </a:p>
          <a:p>
            <a:r>
              <a:rPr lang="ru-RU" dirty="0"/>
              <a:t>несколько строк 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08426" y="5531900"/>
            <a:ext cx="4140828" cy="496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31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030"/>
            <a:ext cx="11300781" cy="457028"/>
          </a:xfrm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88" y="1436677"/>
            <a:ext cx="11300781" cy="4440631"/>
          </a:xfrm>
        </p:spPr>
        <p:txBody>
          <a:bodyPr lIns="0" tIns="0" rIns="0" bIns="0">
            <a:noAutofit/>
          </a:bodyPr>
          <a:lstStyle>
            <a:lvl1pPr marL="244830" indent="-244830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2"/>
            <a:ext cx="209274" cy="163331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 flipH="1">
            <a:off x="740831" y="6300513"/>
            <a:ext cx="71153" cy="97935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77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126"/>
            <a:ext cx="11300781" cy="457028"/>
          </a:xfrm>
          <a:noFill/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88" y="1632243"/>
            <a:ext cx="11300781" cy="4243829"/>
          </a:xfrm>
        </p:spPr>
        <p:txBody>
          <a:bodyPr lIns="0" tIns="0" rIns="0" bIns="0">
            <a:noAutofit/>
          </a:bodyPr>
          <a:lstStyle>
            <a:lvl1pPr marL="244830" indent="-244830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639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2"/>
            <a:ext cx="209274" cy="163331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740831" y="6300513"/>
            <a:ext cx="71153" cy="97935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302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126"/>
            <a:ext cx="11300781" cy="457028"/>
          </a:xfrm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91" y="1436676"/>
            <a:ext cx="5441116" cy="4439699"/>
          </a:xfrm>
        </p:spPr>
        <p:txBody>
          <a:bodyPr lIns="0" tIns="0" rIns="0" bIns="0">
            <a:noAutofit/>
          </a:bodyPr>
          <a:lstStyle>
            <a:lvl1pPr marL="244830" indent="-244830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екст 2"/>
          <p:cNvSpPr>
            <a:spLocks noGrp="1"/>
          </p:cNvSpPr>
          <p:nvPr>
            <p:ph type="body" sz="quarter" idx="32" hasCustomPrompt="1"/>
          </p:nvPr>
        </p:nvSpPr>
        <p:spPr>
          <a:xfrm>
            <a:off x="6382854" y="1436676"/>
            <a:ext cx="5441116" cy="4439699"/>
          </a:xfrm>
        </p:spPr>
        <p:txBody>
          <a:bodyPr lIns="0" rIns="0">
            <a:noAutofit/>
          </a:bodyPr>
          <a:lstStyle>
            <a:lvl1pPr marL="244830" marR="0" indent="-244830" algn="l" defTabSz="472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>
                <a:srgbClr val="00BBE3"/>
              </a:buClr>
              <a:buSzTx/>
              <a:buFont typeface="Arial"/>
              <a:buChar char="•"/>
              <a:tabLst/>
              <a:defRPr lang="ru-RU" sz="1271" b="0" i="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marL="244830" marR="0" lvl="0" indent="-244830" algn="l" defTabSz="472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>
                <a:srgbClr val="00BBE3"/>
              </a:buClr>
              <a:buSzTx/>
              <a:buFont typeface="Arial"/>
              <a:buChar char="•"/>
              <a:tabLst/>
              <a:defRPr/>
            </a:pPr>
            <a:r>
              <a:rPr kumimoji="0" lang="ru-RU" sz="1271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2"/>
            <a:ext cx="209274" cy="163331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740831" y="6300513"/>
            <a:ext cx="71153" cy="97935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002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в две колонки +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126"/>
            <a:ext cx="11300781" cy="457028"/>
          </a:xfrm>
          <a:noFill/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639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8" name="Текст 2"/>
          <p:cNvSpPr>
            <a:spLocks noGrp="1"/>
          </p:cNvSpPr>
          <p:nvPr>
            <p:ph type="body" sz="quarter" idx="31"/>
          </p:nvPr>
        </p:nvSpPr>
        <p:spPr>
          <a:xfrm>
            <a:off x="523191" y="1632243"/>
            <a:ext cx="5441116" cy="4243829"/>
          </a:xfrm>
        </p:spPr>
        <p:txBody>
          <a:bodyPr lIns="0" tIns="0" rIns="0" bIns="0">
            <a:noAutofit/>
          </a:bodyPr>
          <a:lstStyle>
            <a:lvl1pPr marL="244830" indent="-244830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33" hasCustomPrompt="1"/>
          </p:nvPr>
        </p:nvSpPr>
        <p:spPr>
          <a:xfrm>
            <a:off x="6382854" y="1632243"/>
            <a:ext cx="5441116" cy="4243829"/>
          </a:xfrm>
        </p:spPr>
        <p:txBody>
          <a:bodyPr lIns="0" rIns="0">
            <a:noAutofit/>
          </a:bodyPr>
          <a:lstStyle>
            <a:lvl1pPr marL="244830" marR="0" indent="-244830" algn="l" defTabSz="472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>
                <a:srgbClr val="00BBE3"/>
              </a:buClr>
              <a:buSzTx/>
              <a:buFont typeface="Arial"/>
              <a:buChar char="•"/>
              <a:tabLst/>
              <a:defRPr lang="ru-RU" sz="1271" b="0" i="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marL="244830" marR="0" lvl="0" indent="-244830" algn="l" defTabSz="472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>
                <a:srgbClr val="00BBE3"/>
              </a:buClr>
              <a:buSzTx/>
              <a:buFont typeface="Arial"/>
              <a:buChar char="•"/>
              <a:tabLst/>
              <a:defRPr/>
            </a:pPr>
            <a:r>
              <a:rPr kumimoji="0" lang="ru-RU" sz="1271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2"/>
            <a:ext cx="209274" cy="163331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740831" y="6300513"/>
            <a:ext cx="71153" cy="97935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101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126"/>
            <a:ext cx="11300781" cy="457028"/>
          </a:xfrm>
          <a:noFill/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88" y="1632243"/>
            <a:ext cx="11300781" cy="4243829"/>
          </a:xfrm>
        </p:spPr>
        <p:txBody>
          <a:bodyPr lIns="0" tIns="0" rIns="0" bIns="0">
            <a:noAutofit/>
          </a:bodyPr>
          <a:lstStyle>
            <a:lvl1pPr marL="244818" indent="-244818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615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472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в две колонки + подзаголово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одержимое 5"/>
          <p:cNvSpPr>
            <a:spLocks noGrp="1"/>
          </p:cNvSpPr>
          <p:nvPr>
            <p:ph idx="16" hasCustomPrompt="1"/>
          </p:nvPr>
        </p:nvSpPr>
        <p:spPr>
          <a:xfrm>
            <a:off x="6382854" y="1893402"/>
            <a:ext cx="5441116" cy="457028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544"/>
              </a:spcAft>
              <a:buFontTx/>
              <a:buNone/>
              <a:defRPr sz="1451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сновная информация</a:t>
            </a:r>
            <a:br>
              <a:rPr lang="ru-RU" dirty="0"/>
            </a:br>
            <a:r>
              <a:rPr lang="ru-RU" dirty="0"/>
              <a:t>Основная информация</a:t>
            </a:r>
          </a:p>
        </p:txBody>
      </p:sp>
      <p:sp>
        <p:nvSpPr>
          <p:cNvPr id="27" name="Содержимое 5"/>
          <p:cNvSpPr>
            <a:spLocks noGrp="1"/>
          </p:cNvSpPr>
          <p:nvPr>
            <p:ph idx="29" hasCustomPrompt="1"/>
          </p:nvPr>
        </p:nvSpPr>
        <p:spPr>
          <a:xfrm>
            <a:off x="523191" y="1893402"/>
            <a:ext cx="5441116" cy="457028"/>
          </a:xfrm>
        </p:spPr>
        <p:txBody>
          <a:bodyPr anchor="t">
            <a:noAutofit/>
          </a:bodyPr>
          <a:lstStyle>
            <a:lvl1pPr marL="0" marR="0" indent="0" algn="l" defTabSz="4728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Tx/>
              <a:buSzTx/>
              <a:buFontTx/>
              <a:buNone/>
              <a:tabLst/>
              <a:defRPr sz="1451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сновная информация</a:t>
            </a:r>
            <a:br>
              <a:rPr lang="ru-RU" dirty="0"/>
            </a:br>
            <a:r>
              <a:rPr lang="ru-RU" dirty="0"/>
              <a:t>Основная информация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2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5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639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2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23188" y="457030"/>
            <a:ext cx="11300781" cy="457028"/>
          </a:xfrm>
        </p:spPr>
        <p:txBody>
          <a:bodyPr/>
          <a:lstStyle>
            <a:lvl1pPr>
              <a:defRPr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9" name="Текст 2"/>
          <p:cNvSpPr>
            <a:spLocks noGrp="1"/>
          </p:cNvSpPr>
          <p:nvPr>
            <p:ph type="body" sz="quarter" idx="31"/>
          </p:nvPr>
        </p:nvSpPr>
        <p:spPr>
          <a:xfrm>
            <a:off x="523191" y="2611587"/>
            <a:ext cx="5441116" cy="3264484"/>
          </a:xfrm>
        </p:spPr>
        <p:txBody>
          <a:bodyPr lIns="0" tIns="0" rIns="0" bIns="0">
            <a:noAutofit/>
          </a:bodyPr>
          <a:lstStyle>
            <a:lvl1pPr marL="244830" indent="-244830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sz="quarter" idx="33" hasCustomPrompt="1"/>
          </p:nvPr>
        </p:nvSpPr>
        <p:spPr>
          <a:xfrm>
            <a:off x="6382854" y="2611587"/>
            <a:ext cx="5441116" cy="3264484"/>
          </a:xfrm>
        </p:spPr>
        <p:txBody>
          <a:bodyPr lIns="0" rIns="0">
            <a:noAutofit/>
          </a:bodyPr>
          <a:lstStyle>
            <a:lvl1pPr marL="259112" indent="-259112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lang="ru-RU" sz="1271" b="0" i="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2"/>
            <a:ext cx="209274" cy="163331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 userDrawn="1"/>
        </p:nvCxnSpPr>
        <p:spPr>
          <a:xfrm flipH="1">
            <a:off x="740831" y="6300513"/>
            <a:ext cx="71153" cy="97935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85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ко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Рисунок 2"/>
          <p:cNvSpPr>
            <a:spLocks noGrp="1"/>
          </p:cNvSpPr>
          <p:nvPr>
            <p:ph type="pic" idx="14"/>
          </p:nvPr>
        </p:nvSpPr>
        <p:spPr>
          <a:xfrm>
            <a:off x="920803" y="3688867"/>
            <a:ext cx="837095" cy="652897"/>
          </a:xfrm>
        </p:spPr>
        <p:txBody>
          <a:bodyPr>
            <a:normAutofit/>
          </a:bodyPr>
          <a:lstStyle>
            <a:lvl1pPr marL="0" indent="0">
              <a:buNone/>
              <a:defRPr sz="816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72827" indent="0">
              <a:buNone/>
              <a:defRPr sz="2903"/>
            </a:lvl2pPr>
            <a:lvl3pPr marL="945654" indent="0">
              <a:buNone/>
              <a:defRPr sz="2448"/>
            </a:lvl3pPr>
            <a:lvl4pPr marL="1418481" indent="0">
              <a:buNone/>
              <a:defRPr sz="2087"/>
            </a:lvl4pPr>
            <a:lvl5pPr marL="1891307" indent="0">
              <a:buNone/>
              <a:defRPr sz="2087"/>
            </a:lvl5pPr>
            <a:lvl6pPr marL="2364136" indent="0">
              <a:buNone/>
              <a:defRPr sz="2087"/>
            </a:lvl6pPr>
            <a:lvl7pPr marL="2836962" indent="0">
              <a:buNone/>
              <a:defRPr sz="2087"/>
            </a:lvl7pPr>
            <a:lvl8pPr marL="3309788" indent="0">
              <a:buNone/>
              <a:defRPr sz="2087"/>
            </a:lvl8pPr>
            <a:lvl9pPr marL="3782616" indent="0">
              <a:buNone/>
              <a:defRPr sz="2087"/>
            </a:lvl9pPr>
          </a:lstStyle>
          <a:p>
            <a:endParaRPr lang="ru-RU"/>
          </a:p>
        </p:txBody>
      </p:sp>
      <p:sp>
        <p:nvSpPr>
          <p:cNvPr id="23" name="Рисунок 2"/>
          <p:cNvSpPr>
            <a:spLocks noGrp="1"/>
          </p:cNvSpPr>
          <p:nvPr>
            <p:ph type="pic" idx="15"/>
          </p:nvPr>
        </p:nvSpPr>
        <p:spPr>
          <a:xfrm>
            <a:off x="920803" y="1860761"/>
            <a:ext cx="837095" cy="652897"/>
          </a:xfrm>
        </p:spPr>
        <p:txBody>
          <a:bodyPr>
            <a:normAutofit/>
          </a:bodyPr>
          <a:lstStyle>
            <a:lvl1pPr marL="0" indent="0">
              <a:buNone/>
              <a:defRPr sz="816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72827" indent="0">
              <a:buNone/>
              <a:defRPr sz="2903"/>
            </a:lvl2pPr>
            <a:lvl3pPr marL="945654" indent="0">
              <a:buNone/>
              <a:defRPr sz="2448"/>
            </a:lvl3pPr>
            <a:lvl4pPr marL="1418481" indent="0">
              <a:buNone/>
              <a:defRPr sz="2087"/>
            </a:lvl4pPr>
            <a:lvl5pPr marL="1891307" indent="0">
              <a:buNone/>
              <a:defRPr sz="2087"/>
            </a:lvl5pPr>
            <a:lvl6pPr marL="2364136" indent="0">
              <a:buNone/>
              <a:defRPr sz="2087"/>
            </a:lvl6pPr>
            <a:lvl7pPr marL="2836962" indent="0">
              <a:buNone/>
              <a:defRPr sz="2087"/>
            </a:lvl7pPr>
            <a:lvl8pPr marL="3309788" indent="0">
              <a:buNone/>
              <a:defRPr sz="2087"/>
            </a:lvl8pPr>
            <a:lvl9pPr marL="3782616" indent="0">
              <a:buNone/>
              <a:defRPr sz="2087"/>
            </a:lvl9pPr>
          </a:lstStyle>
          <a:p>
            <a:endParaRPr lang="ru-RU" dirty="0"/>
          </a:p>
        </p:txBody>
      </p:sp>
      <p:sp>
        <p:nvSpPr>
          <p:cNvPr id="17" name="Содержимое 5"/>
          <p:cNvSpPr>
            <a:spLocks noGrp="1"/>
          </p:cNvSpPr>
          <p:nvPr>
            <p:ph idx="16" hasCustomPrompt="1"/>
          </p:nvPr>
        </p:nvSpPr>
        <p:spPr>
          <a:xfrm>
            <a:off x="2197376" y="3688871"/>
            <a:ext cx="9626591" cy="522317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544"/>
              </a:spcAft>
              <a:buFontTx/>
              <a:buNone/>
              <a:defRPr sz="1451" b="0" i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сновная информация Основная информация Основная информация</a:t>
            </a:r>
            <a:br>
              <a:rPr lang="ru-RU" dirty="0"/>
            </a:br>
            <a:r>
              <a:rPr lang="ru-RU" dirty="0"/>
              <a:t>Основная информация Основная информация Основная информация</a:t>
            </a:r>
          </a:p>
        </p:txBody>
      </p:sp>
      <p:sp>
        <p:nvSpPr>
          <p:cNvPr id="18" name="Текст 7"/>
          <p:cNvSpPr>
            <a:spLocks noGrp="1"/>
          </p:cNvSpPr>
          <p:nvPr>
            <p:ph type="body" sz="half" idx="25" hasCustomPrompt="1"/>
          </p:nvPr>
        </p:nvSpPr>
        <p:spPr>
          <a:xfrm>
            <a:off x="2197376" y="4211185"/>
            <a:ext cx="9626591" cy="772040"/>
          </a:xfrm>
        </p:spPr>
        <p:txBody>
          <a:bodyPr>
            <a:normAutofit/>
          </a:bodyPr>
          <a:lstStyle>
            <a:lvl1pPr marL="0" marR="0" indent="0" algn="l" defTabSz="472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Tx/>
              <a:buFont typeface="Arial" charset="0"/>
              <a:buNone/>
              <a:tabLst/>
              <a:defRPr sz="1271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</a:t>
            </a:r>
            <a:endParaRPr lang="en-US" dirty="0"/>
          </a:p>
          <a:p>
            <a:pPr lvl="0"/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</a:t>
            </a:r>
            <a:endParaRPr lang="en-US" dirty="0"/>
          </a:p>
          <a:p>
            <a:pPr marL="0" marR="0" lvl="0" indent="0" algn="l" defTabSz="472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Tx/>
              <a:buFont typeface="Arial" charset="0"/>
              <a:buNone/>
              <a:tabLst/>
              <a:defRPr/>
            </a:pPr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</a:t>
            </a:r>
          </a:p>
        </p:txBody>
      </p:sp>
      <p:sp>
        <p:nvSpPr>
          <p:cNvPr id="27" name="Содержимое 5"/>
          <p:cNvSpPr>
            <a:spLocks noGrp="1"/>
          </p:cNvSpPr>
          <p:nvPr>
            <p:ph idx="29" hasCustomPrompt="1"/>
          </p:nvPr>
        </p:nvSpPr>
        <p:spPr>
          <a:xfrm>
            <a:off x="2197376" y="1860759"/>
            <a:ext cx="9626591" cy="522317"/>
          </a:xfrm>
        </p:spPr>
        <p:txBody>
          <a:bodyPr anchor="t">
            <a:noAutofit/>
          </a:bodyPr>
          <a:lstStyle>
            <a:lvl1pPr marL="0" marR="0" indent="0" algn="l" defTabSz="4728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Tx/>
              <a:buSzTx/>
              <a:buFontTx/>
              <a:buNone/>
              <a:tabLst/>
              <a:defRPr sz="1451" b="0" i="0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сновная информация Основная информация Основная информация</a:t>
            </a:r>
            <a:br>
              <a:rPr lang="ru-RU" dirty="0"/>
            </a:br>
            <a:r>
              <a:rPr lang="ru-RU" dirty="0"/>
              <a:t>Основная информация Основная информация Основная информация</a:t>
            </a:r>
          </a:p>
        </p:txBody>
      </p:sp>
      <p:sp>
        <p:nvSpPr>
          <p:cNvPr id="2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4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639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/>
              <a:t>ЗАГОЛОВОК СЛАЙДА</a:t>
            </a:r>
            <a:endParaRPr lang="ru-RU" dirty="0"/>
          </a:p>
        </p:txBody>
      </p:sp>
      <p:sp>
        <p:nvSpPr>
          <p:cNvPr id="35" name="Текст 2"/>
          <p:cNvSpPr>
            <a:spLocks noGrp="1"/>
          </p:cNvSpPr>
          <p:nvPr>
            <p:ph type="body" sz="quarter" idx="33" hasCustomPrompt="1"/>
          </p:nvPr>
        </p:nvSpPr>
        <p:spPr>
          <a:xfrm>
            <a:off x="2197376" y="2383075"/>
            <a:ext cx="9626591" cy="783476"/>
          </a:xfrm>
        </p:spPr>
        <p:txBody>
          <a:bodyPr lIns="0" tIns="0" rIns="0" bIns="0">
            <a:noAutofit/>
          </a:bodyPr>
          <a:lstStyle>
            <a:lvl1pPr marL="0" marR="0" indent="0" algn="l" defTabSz="472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Tx/>
              <a:buFont typeface="Arial" charset="0"/>
              <a:buNone/>
              <a:tabLst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</a:t>
            </a:r>
            <a:endParaRPr lang="en-US" dirty="0"/>
          </a:p>
          <a:p>
            <a:pPr lvl="0"/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</a:t>
            </a:r>
            <a:endParaRPr lang="en-US" dirty="0"/>
          </a:p>
          <a:p>
            <a:pPr marL="0" marR="0" lvl="0" indent="0" algn="l" defTabSz="472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Tx/>
              <a:buFont typeface="Arial" charset="0"/>
              <a:buNone/>
              <a:tabLst/>
              <a:defRPr/>
            </a:pPr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</a:t>
            </a:r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2"/>
            <a:ext cx="209274" cy="163331"/>
          </a:xfrm>
          <a:prstGeom prst="rect">
            <a:avLst/>
          </a:prstGeom>
        </p:spPr>
      </p:pic>
      <p:cxnSp>
        <p:nvCxnSpPr>
          <p:cNvPr id="15" name="Прямая соединительная линия 14"/>
          <p:cNvCxnSpPr/>
          <p:nvPr userDrawn="1"/>
        </p:nvCxnSpPr>
        <p:spPr>
          <a:xfrm flipH="1">
            <a:off x="740831" y="6300513"/>
            <a:ext cx="71153" cy="97935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2"/>
          <p:cNvSpPr>
            <a:spLocks noGrp="1"/>
          </p:cNvSpPr>
          <p:nvPr>
            <p:ph idx="15" hasCustomPrompt="1"/>
          </p:nvPr>
        </p:nvSpPr>
        <p:spPr>
          <a:xfrm>
            <a:off x="523185" y="5092594"/>
            <a:ext cx="3766926" cy="783476"/>
          </a:xfrm>
        </p:spPr>
        <p:txBody>
          <a:bodyPr anchor="t"/>
          <a:lstStyle>
            <a:lvl1pPr marL="0" indent="0" algn="l">
              <a:buFontTx/>
              <a:buNone/>
              <a:defRPr sz="1451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 algn="r">
              <a:buFontTx/>
              <a:buNone/>
              <a:defRPr sz="1271"/>
            </a:lvl2pPr>
            <a:lvl3pPr marL="945655" indent="0">
              <a:buFontTx/>
              <a:buNone/>
              <a:defRPr/>
            </a:lvl3pPr>
          </a:lstStyle>
          <a:p>
            <a:pPr lvl="0"/>
            <a:r>
              <a:rPr lang="ru-RU" dirty="0"/>
              <a:t>Основной текст</a:t>
            </a:r>
          </a:p>
        </p:txBody>
      </p:sp>
      <p:sp>
        <p:nvSpPr>
          <p:cNvPr id="15" name="Содержимое 2"/>
          <p:cNvSpPr>
            <a:spLocks noGrp="1"/>
          </p:cNvSpPr>
          <p:nvPr>
            <p:ph idx="17" hasCustomPrompt="1"/>
          </p:nvPr>
        </p:nvSpPr>
        <p:spPr>
          <a:xfrm>
            <a:off x="523185" y="3939146"/>
            <a:ext cx="3766926" cy="783476"/>
          </a:xfrm>
        </p:spPr>
        <p:txBody>
          <a:bodyPr anchor="t"/>
          <a:lstStyle>
            <a:lvl1pPr marL="0" indent="0" algn="l">
              <a:buFontTx/>
              <a:buNone/>
              <a:defRPr sz="1451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 algn="r">
              <a:buFontTx/>
              <a:buNone/>
              <a:defRPr sz="1271"/>
            </a:lvl2pPr>
            <a:lvl3pPr marL="945655" indent="0">
              <a:buFontTx/>
              <a:buNone/>
              <a:defRPr/>
            </a:lvl3pPr>
          </a:lstStyle>
          <a:p>
            <a:pPr lvl="0"/>
            <a:r>
              <a:rPr lang="ru-RU" dirty="0"/>
              <a:t>Основной текст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523188" y="4907607"/>
            <a:ext cx="11300781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Содержимое 2"/>
          <p:cNvSpPr>
            <a:spLocks noGrp="1"/>
          </p:cNvSpPr>
          <p:nvPr>
            <p:ph idx="19" hasCustomPrompt="1"/>
          </p:nvPr>
        </p:nvSpPr>
        <p:spPr>
          <a:xfrm>
            <a:off x="523185" y="2785695"/>
            <a:ext cx="3766926" cy="783476"/>
          </a:xfrm>
        </p:spPr>
        <p:txBody>
          <a:bodyPr anchor="t"/>
          <a:lstStyle>
            <a:lvl1pPr marL="0" indent="0" algn="l">
              <a:buFontTx/>
              <a:buNone/>
              <a:defRPr sz="1451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 algn="r">
              <a:buFontTx/>
              <a:buNone/>
              <a:defRPr sz="1271"/>
            </a:lvl2pPr>
            <a:lvl3pPr marL="945655" indent="0">
              <a:buFontTx/>
              <a:buNone/>
              <a:defRPr/>
            </a:lvl3pPr>
          </a:lstStyle>
          <a:p>
            <a:pPr lvl="0"/>
            <a:r>
              <a:rPr lang="ru-RU" dirty="0"/>
              <a:t>Основной текст</a:t>
            </a:r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523188" y="3754156"/>
            <a:ext cx="11300781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Содержимое 2"/>
          <p:cNvSpPr>
            <a:spLocks noGrp="1"/>
          </p:cNvSpPr>
          <p:nvPr>
            <p:ph idx="21" hasCustomPrompt="1"/>
          </p:nvPr>
        </p:nvSpPr>
        <p:spPr>
          <a:xfrm>
            <a:off x="523185" y="1632243"/>
            <a:ext cx="3766926" cy="783476"/>
          </a:xfrm>
        </p:spPr>
        <p:txBody>
          <a:bodyPr anchor="t"/>
          <a:lstStyle>
            <a:lvl1pPr marL="0" indent="0" algn="l">
              <a:buFontTx/>
              <a:buNone/>
              <a:defRPr sz="1451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 algn="r">
              <a:buFontTx/>
              <a:buNone/>
              <a:defRPr sz="1271"/>
            </a:lvl2pPr>
            <a:lvl3pPr marL="945655" indent="0">
              <a:buFontTx/>
              <a:buNone/>
              <a:defRPr/>
            </a:lvl3pPr>
          </a:lstStyle>
          <a:p>
            <a:pPr lvl="0"/>
            <a:r>
              <a:rPr lang="ru-RU" dirty="0"/>
              <a:t>Основной текст</a:t>
            </a:r>
          </a:p>
        </p:txBody>
      </p:sp>
      <p:cxnSp>
        <p:nvCxnSpPr>
          <p:cNvPr id="22" name="Прямая соединительная линия 21"/>
          <p:cNvCxnSpPr/>
          <p:nvPr userDrawn="1"/>
        </p:nvCxnSpPr>
        <p:spPr>
          <a:xfrm>
            <a:off x="523188" y="2600705"/>
            <a:ext cx="11300781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7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639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23188" y="457030"/>
            <a:ext cx="11300781" cy="457028"/>
          </a:xfrm>
        </p:spPr>
        <p:txBody>
          <a:bodyPr/>
          <a:lstStyle>
            <a:lvl1pPr>
              <a:defRPr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9" name="Текст 2"/>
          <p:cNvSpPr>
            <a:spLocks noGrp="1"/>
          </p:cNvSpPr>
          <p:nvPr>
            <p:ph type="body" sz="quarter" idx="31" hasCustomPrompt="1"/>
          </p:nvPr>
        </p:nvSpPr>
        <p:spPr>
          <a:xfrm>
            <a:off x="4708661" y="1632243"/>
            <a:ext cx="7115306" cy="783476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Font typeface="Arial" charset="0"/>
              <a:buNone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торостепенная информация Второстепенная информация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sz="quarter" idx="33" hasCustomPrompt="1"/>
          </p:nvPr>
        </p:nvSpPr>
        <p:spPr>
          <a:xfrm>
            <a:off x="4708661" y="2785695"/>
            <a:ext cx="7115306" cy="783476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Font typeface="Arial" charset="0"/>
              <a:buNone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торостепенная информация Второстепенная информация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sz="quarter" idx="34" hasCustomPrompt="1"/>
          </p:nvPr>
        </p:nvSpPr>
        <p:spPr>
          <a:xfrm>
            <a:off x="4708661" y="3939146"/>
            <a:ext cx="7115306" cy="783476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Font typeface="Arial" charset="0"/>
              <a:buNone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торостепенная информация Второстепенная информация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sz="quarter" idx="35" hasCustomPrompt="1"/>
          </p:nvPr>
        </p:nvSpPr>
        <p:spPr>
          <a:xfrm>
            <a:off x="4708661" y="5092594"/>
            <a:ext cx="7115306" cy="783476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Font typeface="Arial" charset="0"/>
              <a:buNone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торостепенная информация Второстепенная информация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2"/>
            <a:ext cx="209274" cy="163331"/>
          </a:xfrm>
          <a:prstGeom prst="rect">
            <a:avLst/>
          </a:prstGeom>
        </p:spPr>
      </p:pic>
      <p:cxnSp>
        <p:nvCxnSpPr>
          <p:cNvPr id="23" name="Прямая соединительная линия 22"/>
          <p:cNvCxnSpPr/>
          <p:nvPr userDrawn="1"/>
        </p:nvCxnSpPr>
        <p:spPr>
          <a:xfrm flipH="1">
            <a:off x="740831" y="6300513"/>
            <a:ext cx="71153" cy="97935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041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2"/>
          <p:cNvSpPr>
            <a:spLocks noGrp="1"/>
          </p:cNvSpPr>
          <p:nvPr>
            <p:ph type="pic" idx="15"/>
          </p:nvPr>
        </p:nvSpPr>
        <p:spPr>
          <a:xfrm>
            <a:off x="4430326" y="1795472"/>
            <a:ext cx="837095" cy="652897"/>
          </a:xfrm>
        </p:spPr>
        <p:txBody>
          <a:bodyPr>
            <a:normAutofit/>
          </a:bodyPr>
          <a:lstStyle>
            <a:lvl1pPr marL="0" indent="0">
              <a:buNone/>
              <a:defRPr sz="816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72827" indent="0">
              <a:buNone/>
              <a:defRPr sz="2903"/>
            </a:lvl2pPr>
            <a:lvl3pPr marL="945654" indent="0">
              <a:buNone/>
              <a:defRPr sz="2448"/>
            </a:lvl3pPr>
            <a:lvl4pPr marL="1418481" indent="0">
              <a:buNone/>
              <a:defRPr sz="2087"/>
            </a:lvl4pPr>
            <a:lvl5pPr marL="1891307" indent="0">
              <a:buNone/>
              <a:defRPr sz="2087"/>
            </a:lvl5pPr>
            <a:lvl6pPr marL="2364136" indent="0">
              <a:buNone/>
              <a:defRPr sz="2087"/>
            </a:lvl6pPr>
            <a:lvl7pPr marL="2836962" indent="0">
              <a:buNone/>
              <a:defRPr sz="2087"/>
            </a:lvl7pPr>
            <a:lvl8pPr marL="3309788" indent="0">
              <a:buNone/>
              <a:defRPr sz="2087"/>
            </a:lvl8pPr>
            <a:lvl9pPr marL="3782616" indent="0">
              <a:buNone/>
              <a:defRPr sz="2087"/>
            </a:lvl9pPr>
          </a:lstStyle>
          <a:p>
            <a:endParaRPr lang="ru-RU" dirty="0"/>
          </a:p>
        </p:txBody>
      </p:sp>
      <p:sp>
        <p:nvSpPr>
          <p:cNvPr id="33" name="Рисунок 2"/>
          <p:cNvSpPr>
            <a:spLocks noGrp="1"/>
          </p:cNvSpPr>
          <p:nvPr>
            <p:ph type="pic" idx="39"/>
          </p:nvPr>
        </p:nvSpPr>
        <p:spPr>
          <a:xfrm>
            <a:off x="8337469" y="1795472"/>
            <a:ext cx="837095" cy="652897"/>
          </a:xfrm>
        </p:spPr>
        <p:txBody>
          <a:bodyPr>
            <a:normAutofit/>
          </a:bodyPr>
          <a:lstStyle>
            <a:lvl1pPr marL="0" indent="0">
              <a:buNone/>
              <a:defRPr sz="816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72827" indent="0">
              <a:buNone/>
              <a:defRPr sz="2903"/>
            </a:lvl2pPr>
            <a:lvl3pPr marL="945654" indent="0">
              <a:buNone/>
              <a:defRPr sz="2448"/>
            </a:lvl3pPr>
            <a:lvl4pPr marL="1418481" indent="0">
              <a:buNone/>
              <a:defRPr sz="2087"/>
            </a:lvl4pPr>
            <a:lvl5pPr marL="1891307" indent="0">
              <a:buNone/>
              <a:defRPr sz="2087"/>
            </a:lvl5pPr>
            <a:lvl6pPr marL="2364136" indent="0">
              <a:buNone/>
              <a:defRPr sz="2087"/>
            </a:lvl6pPr>
            <a:lvl7pPr marL="2836962" indent="0">
              <a:buNone/>
              <a:defRPr sz="2087"/>
            </a:lvl7pPr>
            <a:lvl8pPr marL="3309788" indent="0">
              <a:buNone/>
              <a:defRPr sz="2087"/>
            </a:lvl8pPr>
            <a:lvl9pPr marL="3782616" indent="0">
              <a:buNone/>
              <a:defRPr sz="2087"/>
            </a:lvl9pPr>
          </a:lstStyle>
          <a:p>
            <a:endParaRPr lang="ru-RU" dirty="0"/>
          </a:p>
        </p:txBody>
      </p:sp>
      <p:sp>
        <p:nvSpPr>
          <p:cNvPr id="34" name="Рисунок 2"/>
          <p:cNvSpPr>
            <a:spLocks noGrp="1"/>
          </p:cNvSpPr>
          <p:nvPr>
            <p:ph type="pic" idx="40"/>
          </p:nvPr>
        </p:nvSpPr>
        <p:spPr>
          <a:xfrm>
            <a:off x="523003" y="1795472"/>
            <a:ext cx="837095" cy="652897"/>
          </a:xfrm>
        </p:spPr>
        <p:txBody>
          <a:bodyPr>
            <a:normAutofit/>
          </a:bodyPr>
          <a:lstStyle>
            <a:lvl1pPr marL="0" indent="0">
              <a:buNone/>
              <a:defRPr sz="816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72827" indent="0">
              <a:buNone/>
              <a:defRPr sz="2903"/>
            </a:lvl2pPr>
            <a:lvl3pPr marL="945654" indent="0">
              <a:buNone/>
              <a:defRPr sz="2448"/>
            </a:lvl3pPr>
            <a:lvl4pPr marL="1418481" indent="0">
              <a:buNone/>
              <a:defRPr sz="2087"/>
            </a:lvl4pPr>
            <a:lvl5pPr marL="1891307" indent="0">
              <a:buNone/>
              <a:defRPr sz="2087"/>
            </a:lvl5pPr>
            <a:lvl6pPr marL="2364136" indent="0">
              <a:buNone/>
              <a:defRPr sz="2087"/>
            </a:lvl6pPr>
            <a:lvl7pPr marL="2836962" indent="0">
              <a:buNone/>
              <a:defRPr sz="2087"/>
            </a:lvl7pPr>
            <a:lvl8pPr marL="3309788" indent="0">
              <a:buNone/>
              <a:defRPr sz="2087"/>
            </a:lvl8pPr>
            <a:lvl9pPr marL="3782616" indent="0">
              <a:buNone/>
              <a:defRPr sz="2087"/>
            </a:lvl9pPr>
          </a:lstStyle>
          <a:p>
            <a:endParaRPr lang="ru-RU" dirty="0"/>
          </a:p>
        </p:txBody>
      </p:sp>
      <p:sp>
        <p:nvSpPr>
          <p:cNvPr id="21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5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639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23188" y="457030"/>
            <a:ext cx="11300781" cy="457028"/>
          </a:xfrm>
        </p:spPr>
        <p:txBody>
          <a:bodyPr/>
          <a:lstStyle>
            <a:lvl1pPr>
              <a:defRPr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7" name="Текст 2"/>
          <p:cNvSpPr>
            <a:spLocks noGrp="1"/>
          </p:cNvSpPr>
          <p:nvPr>
            <p:ph type="body" sz="quarter" idx="31"/>
          </p:nvPr>
        </p:nvSpPr>
        <p:spPr>
          <a:xfrm>
            <a:off x="523188" y="3329779"/>
            <a:ext cx="3486500" cy="2546297"/>
          </a:xfrm>
        </p:spPr>
        <p:txBody>
          <a:bodyPr lIns="0" tIns="0" rIns="0" bIns="0">
            <a:noAutofit/>
          </a:bodyPr>
          <a:lstStyle>
            <a:lvl1pPr marL="244830" indent="-244830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2"/>
          <p:cNvSpPr>
            <a:spLocks noGrp="1"/>
          </p:cNvSpPr>
          <p:nvPr>
            <p:ph type="body" sz="quarter" idx="41"/>
          </p:nvPr>
        </p:nvSpPr>
        <p:spPr>
          <a:xfrm>
            <a:off x="4430327" y="3329779"/>
            <a:ext cx="3486500" cy="2546297"/>
          </a:xfrm>
        </p:spPr>
        <p:txBody>
          <a:bodyPr lIns="0" tIns="0" rIns="0" bIns="0">
            <a:noAutofit/>
          </a:bodyPr>
          <a:lstStyle>
            <a:lvl1pPr marL="244830" indent="-244830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9" name="Текст 2"/>
          <p:cNvSpPr>
            <a:spLocks noGrp="1"/>
          </p:cNvSpPr>
          <p:nvPr>
            <p:ph type="body" sz="quarter" idx="42"/>
          </p:nvPr>
        </p:nvSpPr>
        <p:spPr>
          <a:xfrm>
            <a:off x="8337469" y="3329779"/>
            <a:ext cx="3486500" cy="2546297"/>
          </a:xfrm>
        </p:spPr>
        <p:txBody>
          <a:bodyPr lIns="0" tIns="0" rIns="0" bIns="0">
            <a:noAutofit/>
          </a:bodyPr>
          <a:lstStyle>
            <a:lvl1pPr marL="244830" indent="-244830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1" name="Содержимое 5"/>
          <p:cNvSpPr>
            <a:spLocks noGrp="1"/>
          </p:cNvSpPr>
          <p:nvPr>
            <p:ph idx="29" hasCustomPrompt="1"/>
          </p:nvPr>
        </p:nvSpPr>
        <p:spPr>
          <a:xfrm>
            <a:off x="523188" y="2742167"/>
            <a:ext cx="3486500" cy="457028"/>
          </a:xfrm>
        </p:spPr>
        <p:txBody>
          <a:bodyPr anchor="t">
            <a:noAutofit/>
          </a:bodyPr>
          <a:lstStyle>
            <a:lvl1pPr marL="0" marR="0" indent="0" algn="l" defTabSz="4728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Tx/>
              <a:buSzTx/>
              <a:buFontTx/>
              <a:buNone/>
              <a:tabLst/>
              <a:defRPr sz="1451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сновная информация</a:t>
            </a:r>
            <a:br>
              <a:rPr lang="ru-RU" dirty="0"/>
            </a:br>
            <a:r>
              <a:rPr lang="ru-RU" dirty="0"/>
              <a:t>Основная информация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2" name="Содержимое 5"/>
          <p:cNvSpPr>
            <a:spLocks noGrp="1"/>
          </p:cNvSpPr>
          <p:nvPr>
            <p:ph idx="44" hasCustomPrompt="1"/>
          </p:nvPr>
        </p:nvSpPr>
        <p:spPr>
          <a:xfrm>
            <a:off x="4430327" y="2742167"/>
            <a:ext cx="3486500" cy="457028"/>
          </a:xfrm>
        </p:spPr>
        <p:txBody>
          <a:bodyPr anchor="t">
            <a:noAutofit/>
          </a:bodyPr>
          <a:lstStyle>
            <a:lvl1pPr marL="0" marR="0" indent="0" algn="l" defTabSz="4728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Tx/>
              <a:buSzTx/>
              <a:buFontTx/>
              <a:buNone/>
              <a:tabLst/>
              <a:defRPr sz="1451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/>
              <a:t>Основная информация</a:t>
            </a:r>
            <a:br>
              <a:rPr lang="ru-RU"/>
            </a:br>
            <a:r>
              <a:rPr lang="ru-RU"/>
              <a:t>Основная </a:t>
            </a:r>
            <a:r>
              <a:rPr lang="ru-RU" dirty="0"/>
              <a:t>информация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3" name="Содержимое 5"/>
          <p:cNvSpPr>
            <a:spLocks noGrp="1"/>
          </p:cNvSpPr>
          <p:nvPr>
            <p:ph idx="45" hasCustomPrompt="1"/>
          </p:nvPr>
        </p:nvSpPr>
        <p:spPr>
          <a:xfrm>
            <a:off x="8337469" y="2742167"/>
            <a:ext cx="3486500" cy="457028"/>
          </a:xfrm>
        </p:spPr>
        <p:txBody>
          <a:bodyPr anchor="t">
            <a:noAutofit/>
          </a:bodyPr>
          <a:lstStyle>
            <a:lvl1pPr marL="0" marR="0" indent="0" algn="l" defTabSz="4728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Tx/>
              <a:buSzTx/>
              <a:buFontTx/>
              <a:buNone/>
              <a:tabLst/>
              <a:defRPr sz="1451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/>
              <a:t>Основная информация</a:t>
            </a:r>
            <a:br>
              <a:rPr lang="ru-RU"/>
            </a:br>
            <a:r>
              <a:rPr lang="ru-RU"/>
              <a:t>Основная </a:t>
            </a:r>
            <a:r>
              <a:rPr lang="ru-RU" dirty="0"/>
              <a:t>информация</a:t>
            </a:r>
          </a:p>
          <a:p>
            <a:endParaRPr lang="ru-RU" dirty="0"/>
          </a:p>
          <a:p>
            <a:endParaRPr lang="ru-RU" dirty="0"/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2"/>
            <a:ext cx="209274" cy="163331"/>
          </a:xfrm>
          <a:prstGeom prst="rect">
            <a:avLst/>
          </a:prstGeom>
        </p:spPr>
      </p:pic>
      <p:cxnSp>
        <p:nvCxnSpPr>
          <p:cNvPr id="18" name="Прямая соединительная линия 17"/>
          <p:cNvCxnSpPr/>
          <p:nvPr userDrawn="1"/>
        </p:nvCxnSpPr>
        <p:spPr>
          <a:xfrm flipH="1">
            <a:off x="740831" y="6300513"/>
            <a:ext cx="71153" cy="97935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15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зображение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Рисунок 2"/>
          <p:cNvSpPr>
            <a:spLocks noGrp="1"/>
          </p:cNvSpPr>
          <p:nvPr>
            <p:ph type="pic" idx="15"/>
          </p:nvPr>
        </p:nvSpPr>
        <p:spPr>
          <a:xfrm>
            <a:off x="523184" y="2154562"/>
            <a:ext cx="3097251" cy="2742167"/>
          </a:xfrm>
        </p:spPr>
        <p:txBody>
          <a:bodyPr>
            <a:normAutofit/>
          </a:bodyPr>
          <a:lstStyle>
            <a:lvl1pPr marL="0" indent="0">
              <a:buNone/>
              <a:defRPr sz="816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72827" indent="0">
              <a:buNone/>
              <a:defRPr sz="2903"/>
            </a:lvl2pPr>
            <a:lvl3pPr marL="945654" indent="0">
              <a:buNone/>
              <a:defRPr sz="2448"/>
            </a:lvl3pPr>
            <a:lvl4pPr marL="1418481" indent="0">
              <a:buNone/>
              <a:defRPr sz="2087"/>
            </a:lvl4pPr>
            <a:lvl5pPr marL="1891307" indent="0">
              <a:buNone/>
              <a:defRPr sz="2087"/>
            </a:lvl5pPr>
            <a:lvl6pPr marL="2364136" indent="0">
              <a:buNone/>
              <a:defRPr sz="2087"/>
            </a:lvl6pPr>
            <a:lvl7pPr marL="2836962" indent="0">
              <a:buNone/>
              <a:defRPr sz="2087"/>
            </a:lvl7pPr>
            <a:lvl8pPr marL="3309788" indent="0">
              <a:buNone/>
              <a:defRPr sz="2087"/>
            </a:lvl8pPr>
            <a:lvl9pPr marL="3782616" indent="0">
              <a:buNone/>
              <a:defRPr sz="2087"/>
            </a:lvl9pPr>
          </a:lstStyle>
          <a:p>
            <a:endParaRPr lang="ru-RU" dirty="0"/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0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639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23188" y="457030"/>
            <a:ext cx="11300781" cy="457028"/>
          </a:xfrm>
        </p:spPr>
        <p:txBody>
          <a:bodyPr/>
          <a:lstStyle>
            <a:lvl1pPr>
              <a:defRPr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2" name="Содержимое 5"/>
          <p:cNvSpPr>
            <a:spLocks noGrp="1"/>
          </p:cNvSpPr>
          <p:nvPr>
            <p:ph idx="33" hasCustomPrompt="1"/>
          </p:nvPr>
        </p:nvSpPr>
        <p:spPr>
          <a:xfrm>
            <a:off x="4457535" y="2154563"/>
            <a:ext cx="7366435" cy="522317"/>
          </a:xfrm>
        </p:spPr>
        <p:txBody>
          <a:bodyPr anchor="t">
            <a:noAutofit/>
          </a:bodyPr>
          <a:lstStyle>
            <a:lvl1pPr marL="0" marR="0" indent="0" algn="l" defTabSz="4728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Tx/>
              <a:buSzTx/>
              <a:buFontTx/>
              <a:buNone/>
              <a:tabLst/>
              <a:defRPr sz="1451" b="0" i="0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сновная информация Основная информация Основная информация</a:t>
            </a:r>
            <a:br>
              <a:rPr lang="ru-RU" dirty="0"/>
            </a:br>
            <a:r>
              <a:rPr lang="ru-RU" dirty="0"/>
              <a:t>Основная информация Основная информация Основная информация</a:t>
            </a:r>
          </a:p>
        </p:txBody>
      </p:sp>
      <p:sp>
        <p:nvSpPr>
          <p:cNvPr id="25" name="Текст 2"/>
          <p:cNvSpPr>
            <a:spLocks noGrp="1"/>
          </p:cNvSpPr>
          <p:nvPr>
            <p:ph type="body" sz="quarter" idx="34" hasCustomPrompt="1"/>
          </p:nvPr>
        </p:nvSpPr>
        <p:spPr>
          <a:xfrm>
            <a:off x="4457535" y="2676879"/>
            <a:ext cx="7366435" cy="2219849"/>
          </a:xfrm>
        </p:spPr>
        <p:txBody>
          <a:bodyPr lIns="0" tIns="0" rIns="0" bIns="0">
            <a:noAutofit/>
          </a:bodyPr>
          <a:lstStyle>
            <a:lvl1pPr marL="0" marR="0" indent="0" algn="l" defTabSz="472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Tx/>
              <a:buFont typeface="Arial" charset="0"/>
              <a:buNone/>
              <a:tabLst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tx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 Второстепенная информация</a:t>
            </a:r>
            <a:endParaRPr lang="en-US" dirty="0"/>
          </a:p>
          <a:p>
            <a:pPr lvl="0"/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 Второстепенная информация</a:t>
            </a:r>
            <a:endParaRPr lang="en-US" dirty="0"/>
          </a:p>
          <a:p>
            <a:pPr marL="0" marR="0" lvl="0" indent="0" algn="l" defTabSz="472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Tx/>
              <a:buFont typeface="Arial" charset="0"/>
              <a:buNone/>
              <a:tabLst/>
              <a:defRPr/>
            </a:pPr>
            <a:r>
              <a:rPr lang="ru-RU" dirty="0"/>
              <a:t>Второстепенная информация 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</a:t>
            </a:r>
            <a:r>
              <a:rPr lang="en-US" dirty="0"/>
              <a:t> </a:t>
            </a:r>
            <a:r>
              <a:rPr lang="ru-RU" dirty="0"/>
              <a:t>Второстепенная информация Второстепенная информация</a:t>
            </a:r>
            <a:endParaRPr lang="en-US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2"/>
            <a:ext cx="209274" cy="163331"/>
          </a:xfrm>
          <a:prstGeom prst="rect">
            <a:avLst/>
          </a:prstGeom>
        </p:spPr>
      </p:pic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740831" y="6300513"/>
            <a:ext cx="71153" cy="97935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031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126"/>
            <a:ext cx="11300781" cy="457028"/>
          </a:xfrm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Whitney Книжный" charset="0"/>
                <a:ea typeface="Whitney Книжный" charset="0"/>
                <a:cs typeface="Whitney Книжный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91" y="1436676"/>
            <a:ext cx="5441116" cy="4439699"/>
          </a:xfrm>
        </p:spPr>
        <p:txBody>
          <a:bodyPr lIns="0" tIns="0" rIns="0" bIns="0">
            <a:noAutofit/>
          </a:bodyPr>
          <a:lstStyle>
            <a:lvl1pPr marL="244818" indent="-244818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екст 2"/>
          <p:cNvSpPr>
            <a:spLocks noGrp="1"/>
          </p:cNvSpPr>
          <p:nvPr>
            <p:ph type="body" sz="quarter" idx="32"/>
          </p:nvPr>
        </p:nvSpPr>
        <p:spPr>
          <a:xfrm>
            <a:off x="6382854" y="1436676"/>
            <a:ext cx="5441116" cy="4439699"/>
          </a:xfrm>
        </p:spPr>
        <p:txBody>
          <a:bodyPr lIns="0" rIns="0">
            <a:noAutofit/>
          </a:bodyPr>
          <a:lstStyle>
            <a:lvl1pPr marL="259099" indent="-259099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lang="ru-RU" sz="1271" b="0" i="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marL="244818" lvl="0" indent="-244818" algn="l" defTabSz="472615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Font typeface="Arial" charset="0"/>
              <a:buChar char="•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Нижний колонтитул 4"/>
          <p:cNvSpPr txBox="1">
            <a:spLocks/>
          </p:cNvSpPr>
          <p:nvPr userDrawn="1"/>
        </p:nvSpPr>
        <p:spPr>
          <a:xfrm>
            <a:off x="920805" y="6267809"/>
            <a:ext cx="7533855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l" defTabSz="1042873" rtl="0" eaLnBrk="1" fontAlgn="auto" latinLnBrk="0" hangingPunct="1">
              <a:spcBef>
                <a:spcPts val="0"/>
              </a:spcBef>
              <a:spcAft>
                <a:spcPts val="0"/>
              </a:spcAft>
              <a:defRPr sz="1400" b="0" i="0" kern="1200">
                <a:solidFill>
                  <a:schemeClr val="bg2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907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361" y="6267812"/>
            <a:ext cx="209274" cy="16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9371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в две колонки +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126"/>
            <a:ext cx="11300781" cy="457028"/>
          </a:xfrm>
          <a:noFill/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615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8" name="Текст 2"/>
          <p:cNvSpPr>
            <a:spLocks noGrp="1"/>
          </p:cNvSpPr>
          <p:nvPr>
            <p:ph type="body" sz="quarter" idx="31"/>
          </p:nvPr>
        </p:nvSpPr>
        <p:spPr>
          <a:xfrm>
            <a:off x="523191" y="1632243"/>
            <a:ext cx="5441116" cy="4243829"/>
          </a:xfrm>
        </p:spPr>
        <p:txBody>
          <a:bodyPr lIns="0" tIns="0" rIns="0" bIns="0">
            <a:noAutofit/>
          </a:bodyPr>
          <a:lstStyle>
            <a:lvl1pPr marL="244818" indent="-244818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33"/>
          </p:nvPr>
        </p:nvSpPr>
        <p:spPr>
          <a:xfrm>
            <a:off x="6382854" y="1632243"/>
            <a:ext cx="5441116" cy="4243829"/>
          </a:xfrm>
        </p:spPr>
        <p:txBody>
          <a:bodyPr lIns="0" rIns="0">
            <a:noAutofit/>
          </a:bodyPr>
          <a:lstStyle>
            <a:lvl1pPr marL="259099" indent="-259099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None/>
              <a:defRPr lang="ru-RU" sz="1271" b="0" i="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marL="244818" lvl="0" indent="-244818" algn="l" defTabSz="472615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Font typeface="Arial" charset="0"/>
              <a:buChar char="•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7999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2944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25039" y="5436871"/>
            <a:ext cx="2328964" cy="474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876" tIns="41439" rIns="82876" bIns="41439">
            <a:no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72595">
              <a:defRPr/>
            </a:pPr>
            <a:r>
              <a:rPr lang="ru-RU" altLang="x-none" sz="1271" dirty="0">
                <a:solidFill>
                  <a:srgbClr val="000000">
                    <a:lumMod val="65000"/>
                    <a:lumOff val="35000"/>
                  </a:srgbClr>
                </a:solidFill>
                <a:latin typeface="Whitney Light" pitchFamily="50" charset="0"/>
                <a:ea typeface="Whitney Book" charset="0"/>
                <a:cs typeface="Whitney Light" pitchFamily="50" charset="0"/>
              </a:rPr>
              <a:t>В жизни всегда</a:t>
            </a:r>
            <a:br>
              <a:rPr lang="ru-RU" altLang="x-none" sz="1271" dirty="0">
                <a:solidFill>
                  <a:srgbClr val="000000">
                    <a:lumMod val="65000"/>
                    <a:lumOff val="35000"/>
                  </a:srgbClr>
                </a:solidFill>
                <a:latin typeface="Whitney Light" pitchFamily="50" charset="0"/>
                <a:ea typeface="Whitney Book" charset="0"/>
                <a:cs typeface="Whitney Light" pitchFamily="50" charset="0"/>
              </a:rPr>
            </a:br>
            <a:r>
              <a:rPr lang="ru-RU" altLang="x-none" sz="1271" dirty="0">
                <a:solidFill>
                  <a:srgbClr val="000000">
                    <a:lumMod val="65000"/>
                    <a:lumOff val="35000"/>
                  </a:srgbClr>
                </a:solidFill>
                <a:latin typeface="Whitney Light" pitchFamily="50" charset="0"/>
                <a:ea typeface="Whitney Book" charset="0"/>
                <a:cs typeface="Whitney Light" pitchFamily="50" charset="0"/>
              </a:rPr>
              <a:t>есть место открытию</a:t>
            </a: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725036" y="5876030"/>
            <a:ext cx="875922" cy="279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876" tIns="41439" rIns="82876" bIns="41439">
            <a:no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72595">
              <a:defRPr/>
            </a:pPr>
            <a:r>
              <a:rPr lang="en-US" sz="1271" dirty="0">
                <a:solidFill>
                  <a:srgbClr val="00BBE3"/>
                </a:solidFill>
                <a:latin typeface="Whitney Light" pitchFamily="50" charset="0"/>
                <a:cs typeface="Whitney Light" pitchFamily="50" charset="0"/>
              </a:rPr>
              <a:t>open</a:t>
            </a:r>
            <a:r>
              <a:rPr lang="en-US" altLang="x-none" sz="1271" dirty="0">
                <a:solidFill>
                  <a:srgbClr val="58595B"/>
                </a:solidFill>
                <a:latin typeface="Whitney Light" pitchFamily="50" charset="0"/>
                <a:ea typeface="Whitney Book" charset="0"/>
                <a:cs typeface="Whitney Light" pitchFamily="50" charset="0"/>
              </a:rPr>
              <a:t>.ru</a:t>
            </a:r>
            <a:endParaRPr lang="ru-RU" altLang="x-none" sz="1271" dirty="0">
              <a:solidFill>
                <a:srgbClr val="58595B"/>
              </a:solidFill>
              <a:latin typeface="Whitney Light" pitchFamily="50" charset="0"/>
              <a:ea typeface="Whitney Book" charset="0"/>
              <a:cs typeface="Whitney Light" pitchFamily="50" charset="0"/>
            </a:endParaRPr>
          </a:p>
        </p:txBody>
      </p:sp>
      <p:sp>
        <p:nvSpPr>
          <p:cNvPr id="8" name="Рисунок 2"/>
          <p:cNvSpPr>
            <a:spLocks noGrp="1"/>
          </p:cNvSpPr>
          <p:nvPr>
            <p:ph type="pic" idx="13"/>
          </p:nvPr>
        </p:nvSpPr>
        <p:spPr>
          <a:xfrm>
            <a:off x="1636" y="8"/>
            <a:ext cx="12425323" cy="4065135"/>
          </a:xfrm>
        </p:spPr>
        <p:txBody>
          <a:bodyPr>
            <a:normAutofit/>
          </a:bodyPr>
          <a:lstStyle>
            <a:lvl1pPr marL="0" indent="0">
              <a:buNone/>
              <a:defRPr sz="2631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472404" indent="0">
              <a:buNone/>
              <a:defRPr sz="2903"/>
            </a:lvl2pPr>
            <a:lvl3pPr marL="944807" indent="0">
              <a:buNone/>
              <a:defRPr sz="2448"/>
            </a:lvl3pPr>
            <a:lvl4pPr marL="1417211" indent="0">
              <a:buNone/>
              <a:defRPr sz="2087"/>
            </a:lvl4pPr>
            <a:lvl5pPr marL="1889615" indent="0">
              <a:buNone/>
              <a:defRPr sz="2087"/>
            </a:lvl5pPr>
            <a:lvl6pPr marL="2362020" indent="0">
              <a:buNone/>
              <a:defRPr sz="2087"/>
            </a:lvl6pPr>
            <a:lvl7pPr marL="2834424" indent="0">
              <a:buNone/>
              <a:defRPr sz="2087"/>
            </a:lvl7pPr>
            <a:lvl8pPr marL="3306828" indent="0">
              <a:buNone/>
              <a:defRPr sz="2087"/>
            </a:lvl8pPr>
            <a:lvl9pPr marL="3779232" indent="0">
              <a:buNone/>
              <a:defRPr sz="2087"/>
            </a:lvl9pPr>
          </a:lstStyle>
          <a:p>
            <a:r>
              <a:rPr lang="ru-RU" dirty="0"/>
              <a:t>Чтобы добавить рисунок, перетащите его в заполнитель или щелкните значок</a:t>
            </a:r>
          </a:p>
        </p:txBody>
      </p:sp>
      <p:sp>
        <p:nvSpPr>
          <p:cNvPr id="9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1138042" y="2792668"/>
            <a:ext cx="4621415" cy="1086451"/>
          </a:xfrm>
        </p:spPr>
        <p:txBody>
          <a:bodyPr anchor="t">
            <a:noAutofit/>
          </a:bodyPr>
          <a:lstStyle>
            <a:lvl1pPr marL="0" marR="0" indent="0" algn="l" defTabSz="47240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95">
                <a:solidFill>
                  <a:schemeClr val="bg1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ru-RU" dirty="0"/>
              <a:t>ОСНОВНОЙ ЗАГОЛОВОК</a:t>
            </a:r>
            <a:br>
              <a:rPr lang="ru-RU" dirty="0"/>
            </a:br>
            <a:r>
              <a:rPr lang="ru-RU" dirty="0"/>
              <a:t>МОЖЕТ БЫТЬ</a:t>
            </a:r>
            <a:br>
              <a:rPr lang="ru-RU" dirty="0"/>
            </a:br>
            <a:r>
              <a:rPr lang="ru-RU" dirty="0"/>
              <a:t>В ТРИ СТРОКИ</a:t>
            </a: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137122" y="3879122"/>
            <a:ext cx="4622329" cy="850543"/>
          </a:xfrm>
        </p:spPr>
        <p:txBody>
          <a:bodyPr anchor="t">
            <a:noAutofit/>
          </a:bodyPr>
          <a:lstStyle>
            <a:lvl1pPr marL="0" marR="0" indent="0" algn="l" defTabSz="4724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71">
                <a:solidFill>
                  <a:srgbClr val="FFFFFF"/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 marL="472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4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7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89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2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4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6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7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Подзаголовок презентации </a:t>
            </a:r>
          </a:p>
          <a:p>
            <a:r>
              <a:rPr lang="ru-RU" dirty="0"/>
              <a:t>так же может занимать </a:t>
            </a:r>
          </a:p>
          <a:p>
            <a:r>
              <a:rPr lang="ru-RU" dirty="0"/>
              <a:t>несколько строк 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08431" y="5531900"/>
            <a:ext cx="4140828" cy="496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7955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030"/>
            <a:ext cx="11300781" cy="457028"/>
          </a:xfrm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88" y="1436677"/>
            <a:ext cx="11300781" cy="4440631"/>
          </a:xfrm>
        </p:spPr>
        <p:txBody>
          <a:bodyPr lIns="0" tIns="0" rIns="0" bIns="0">
            <a:noAutofit/>
          </a:bodyPr>
          <a:lstStyle>
            <a:lvl1pPr marL="244709" indent="-244709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</a:defRPr>
            </a:lvl2pPr>
            <a:lvl3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</a:defRPr>
            </a:lvl3pPr>
            <a:lvl4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</a:defRPr>
            </a:lvl4pPr>
            <a:lvl5pPr>
              <a:buClr>
                <a:schemeClr val="bg2"/>
              </a:buClr>
              <a:defRPr sz="1271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8000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145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4" y="1450"/>
          <a:ext cx="1845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4" y="1450"/>
                        <a:ext cx="1845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126"/>
            <a:ext cx="11300781" cy="457028"/>
          </a:xfrm>
          <a:noFill/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88" y="1632243"/>
            <a:ext cx="11300781" cy="4243829"/>
          </a:xfrm>
        </p:spPr>
        <p:txBody>
          <a:bodyPr lIns="0" tIns="0" rIns="0" bIns="0">
            <a:noAutofit/>
          </a:bodyPr>
          <a:lstStyle>
            <a:lvl1pPr marL="244709" indent="-244709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2" hasCustomPrompt="1"/>
          </p:nvPr>
        </p:nvSpPr>
        <p:spPr>
          <a:xfrm>
            <a:off x="523188" y="914059"/>
            <a:ext cx="11300781" cy="391739"/>
          </a:xfrm>
          <a:noFill/>
        </p:spPr>
        <p:txBody>
          <a:bodyPr lIns="0" tIns="0" rIns="0" bIns="0">
            <a:noAutofit/>
          </a:bodyPr>
          <a:lstStyle>
            <a:lvl1pPr marL="0" indent="0" algn="l" defTabSz="472404" rtl="0" eaLnBrk="1" latinLnBrk="0" hangingPunct="1">
              <a:spcBef>
                <a:spcPct val="0"/>
              </a:spcBef>
              <a:buNone/>
              <a:defRPr lang="ru-RU" sz="1451" b="0" i="0" kern="1200" cap="all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pPr lvl="0"/>
            <a:r>
              <a:rPr lang="ru-RU" dirty="0"/>
              <a:t>ПОДЗАГОЛОВОК СЛАЙДА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8000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1686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4" y="1450"/>
          <a:ext cx="1845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4" y="1450"/>
                        <a:ext cx="1845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23188" y="457126"/>
            <a:ext cx="11300781" cy="457028"/>
          </a:xfrm>
        </p:spPr>
        <p:txBody>
          <a:bodyPr lIns="0" tIns="0" rIns="0" bIns="0" anchor="t">
            <a:noAutofit/>
          </a:bodyPr>
          <a:lstStyle>
            <a:lvl1pPr algn="l">
              <a:defRPr sz="1632" b="0" i="0" cap="all" baseline="0">
                <a:solidFill>
                  <a:schemeClr val="bg2"/>
                </a:solidFill>
                <a:latin typeface="Whitney Книжный" charset="0"/>
                <a:ea typeface="Whitney Книжный" charset="0"/>
                <a:cs typeface="Whitney Книжный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31"/>
          </p:nvPr>
        </p:nvSpPr>
        <p:spPr>
          <a:xfrm>
            <a:off x="523191" y="1436676"/>
            <a:ext cx="5441116" cy="4439699"/>
          </a:xfrm>
        </p:spPr>
        <p:txBody>
          <a:bodyPr lIns="0" tIns="0" rIns="0" bIns="0">
            <a:noAutofit/>
          </a:bodyPr>
          <a:lstStyle>
            <a:lvl1pPr marL="244709" indent="-244709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екст 2"/>
          <p:cNvSpPr>
            <a:spLocks noGrp="1"/>
          </p:cNvSpPr>
          <p:nvPr>
            <p:ph type="body" sz="quarter" idx="32"/>
          </p:nvPr>
        </p:nvSpPr>
        <p:spPr>
          <a:xfrm>
            <a:off x="6382854" y="1436676"/>
            <a:ext cx="5441116" cy="4439699"/>
          </a:xfrm>
        </p:spPr>
        <p:txBody>
          <a:bodyPr lIns="0" rIns="0">
            <a:noAutofit/>
          </a:bodyPr>
          <a:lstStyle>
            <a:lvl1pPr marL="258984" indent="-258984">
              <a:spcBef>
                <a:spcPts val="0"/>
              </a:spcBef>
              <a:spcAft>
                <a:spcPts val="544"/>
              </a:spcAft>
              <a:buClr>
                <a:schemeClr val="bg2"/>
              </a:buClr>
              <a:buFont typeface="Arial" charset="0"/>
              <a:buChar char="•"/>
              <a:defRPr lang="ru-RU" sz="1271" b="0" i="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  <a:lvl2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2pPr>
            <a:lvl3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3pPr>
            <a:lvl4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4pPr>
            <a:lvl5pPr>
              <a:buClr>
                <a:schemeClr val="bg2"/>
              </a:buClr>
              <a:defRPr sz="1271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5pPr>
          </a:lstStyle>
          <a:p>
            <a:pPr marL="244709" lvl="0" indent="-244709" algn="l" defTabSz="472404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Font typeface="Arial" charset="0"/>
              <a:buChar char="•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8000" y="6267809"/>
            <a:ext cx="585967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>
                <a:solidFill>
                  <a:schemeClr val="tx1">
                    <a:tint val="75000"/>
                  </a:schemeClr>
                </a:solidFill>
                <a:latin typeface="Whitney Book" charset="0"/>
                <a:ea typeface="Whitney Book" charset="0"/>
                <a:cs typeface="Whitney Book" charset="0"/>
              </a:defRPr>
            </a:lvl1pPr>
          </a:lstStyle>
          <a:p>
            <a:fld id="{7DCF1EA8-601E-944A-8771-CD18B83E524B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62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5.xml"/><Relationship Id="rId10" Type="http://schemas.openxmlformats.org/officeDocument/2006/relationships/vmlDrawing" Target="../drawings/vmlDrawing4.v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3.xml"/><Relationship Id="rId14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heme" Target="../theme/theme4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vmlDrawing" Target="../drawings/vmlDrawing7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vmlDrawing" Target="../drawings/vmlDrawing9.vml"/><Relationship Id="rId7" Type="http://schemas.openxmlformats.org/officeDocument/2006/relationships/image" Target="../media/image5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9.bin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1.vml"/><Relationship Id="rId7" Type="http://schemas.openxmlformats.org/officeDocument/2006/relationships/image" Target="../media/image5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2.xml"/><Relationship Id="rId6" Type="http://schemas.openxmlformats.org/officeDocument/2006/relationships/oleObject" Target="../embeddings/oleObject11.bin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heme" Target="../theme/theme7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vmlDrawing" Target="../drawings/vmlDrawing13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3188" y="457030"/>
            <a:ext cx="11300781" cy="4570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3188" y="1436375"/>
            <a:ext cx="11300781" cy="443969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920805" y="6267809"/>
            <a:ext cx="7533855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7" b="0" i="0">
                <a:solidFill>
                  <a:schemeClr val="tx1">
                    <a:lumMod val="50000"/>
                    <a:lumOff val="50000"/>
                  </a:schemeClr>
                </a:solidFill>
                <a:latin typeface="Whitney Книжный" charset="0"/>
                <a:cs typeface="Whitney Книжный" charset="0"/>
              </a:defRPr>
            </a:lvl1pPr>
          </a:lstStyle>
          <a:p>
            <a:pPr defTabSz="472827"/>
            <a:endParaRPr lang="ru-RU" dirty="0">
              <a:solidFill>
                <a:srgbClr val="000000">
                  <a:lumMod val="50000"/>
                  <a:lumOff val="50000"/>
                </a:srgbClr>
              </a:solidFill>
              <a:latin typeface="Whitney Book" charset="0"/>
              <a:ea typeface="Whitney Book" charset="0"/>
              <a:cs typeface="Whitney Book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8009" y="6267809"/>
            <a:ext cx="585965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 b="0" i="0">
                <a:solidFill>
                  <a:schemeClr val="tx1">
                    <a:lumMod val="50000"/>
                    <a:lumOff val="50000"/>
                  </a:schemeClr>
                </a:solidFill>
                <a:latin typeface="Whitney Книжный" charset="0"/>
                <a:cs typeface="Whitney Книжный" charset="0"/>
              </a:defRPr>
            </a:lvl1pPr>
          </a:lstStyle>
          <a:p>
            <a:pPr defTabSz="472827"/>
            <a:fld id="{7DCF1EA8-601E-944A-8771-CD18B83E524B}" type="slidenum">
              <a:rPr lang="ru-RU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72827"/>
              <a:t>‹#›</a:t>
            </a:fld>
            <a:endParaRPr lang="ru-RU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936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</p:sldLayoutIdLst>
  <p:hf hdr="0" ftr="0" dt="0"/>
  <p:txStyles>
    <p:titleStyle>
      <a:lvl1pPr algn="l" defTabSz="472615" rtl="0" eaLnBrk="1" latinLnBrk="0" hangingPunct="1">
        <a:spcBef>
          <a:spcPct val="0"/>
        </a:spcBef>
        <a:buNone/>
        <a:defRPr sz="1632" b="0" i="0" kern="1200">
          <a:solidFill>
            <a:schemeClr val="bg2"/>
          </a:solidFill>
          <a:latin typeface="Whitney Book" charset="0"/>
          <a:ea typeface="Whitney Book" charset="0"/>
          <a:cs typeface="Whitney Book" charset="0"/>
        </a:defRPr>
      </a:lvl1pPr>
    </p:titleStyle>
    <p:bodyStyle>
      <a:lvl1pPr marL="244818" indent="-244818" algn="l" defTabSz="472615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•"/>
        <a:defRPr sz="1271" b="0" i="0" kern="1200">
          <a:solidFill>
            <a:schemeClr val="tx1">
              <a:lumMod val="65000"/>
              <a:lumOff val="35000"/>
            </a:schemeClr>
          </a:solidFill>
          <a:latin typeface="Whitney Книжный" charset="0"/>
          <a:ea typeface="+mn-ea"/>
          <a:cs typeface="Whitney Книжный" charset="0"/>
        </a:defRPr>
      </a:lvl1pPr>
      <a:lvl2pPr marL="489636" indent="-244818" algn="l" defTabSz="472615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–"/>
        <a:defRPr sz="1271" b="0" i="0" kern="1200">
          <a:solidFill>
            <a:schemeClr val="tx1">
              <a:lumMod val="65000"/>
              <a:lumOff val="35000"/>
            </a:schemeClr>
          </a:solidFill>
          <a:latin typeface="Whitney Книжный" charset="0"/>
          <a:ea typeface="+mn-ea"/>
          <a:cs typeface="Whitney Книжный" charset="0"/>
        </a:defRPr>
      </a:lvl2pPr>
      <a:lvl3pPr marL="734454" indent="-244818" algn="l" defTabSz="472615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•"/>
        <a:defRPr sz="1271" b="0" i="0" kern="1200">
          <a:solidFill>
            <a:schemeClr val="tx1">
              <a:lumMod val="65000"/>
              <a:lumOff val="35000"/>
            </a:schemeClr>
          </a:solidFill>
          <a:latin typeface="Whitney Книжный" charset="0"/>
          <a:ea typeface="+mn-ea"/>
          <a:cs typeface="Whitney Книжный" charset="0"/>
        </a:defRPr>
      </a:lvl3pPr>
      <a:lvl4pPr marL="979272" indent="-244818" algn="l" defTabSz="472615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–"/>
        <a:defRPr sz="1271" b="0" i="0" kern="1200">
          <a:solidFill>
            <a:schemeClr val="tx1">
              <a:lumMod val="65000"/>
              <a:lumOff val="35000"/>
            </a:schemeClr>
          </a:solidFill>
          <a:latin typeface="Whitney Книжный" charset="0"/>
          <a:ea typeface="+mn-ea"/>
          <a:cs typeface="Whitney Книжный" charset="0"/>
        </a:defRPr>
      </a:lvl4pPr>
      <a:lvl5pPr marL="1224089" indent="-244818" algn="l" defTabSz="472615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»"/>
        <a:defRPr sz="1271" b="0" i="0" kern="1200">
          <a:solidFill>
            <a:schemeClr val="tx1">
              <a:lumMod val="65000"/>
              <a:lumOff val="35000"/>
            </a:schemeClr>
          </a:solidFill>
          <a:latin typeface="Whitney Книжный" charset="0"/>
          <a:ea typeface="+mn-ea"/>
          <a:cs typeface="Whitney Книжный" charset="0"/>
        </a:defRPr>
      </a:lvl5pPr>
      <a:lvl6pPr marL="2599380" indent="-236307" algn="l" defTabSz="472615" rtl="0" eaLnBrk="1" latinLnBrk="0" hangingPunct="1">
        <a:spcBef>
          <a:spcPct val="20000"/>
        </a:spcBef>
        <a:buFont typeface="Arial"/>
        <a:buChar char="•"/>
        <a:defRPr sz="2085" kern="1200">
          <a:solidFill>
            <a:schemeClr val="tx1"/>
          </a:solidFill>
          <a:latin typeface="+mn-lt"/>
          <a:ea typeface="+mn-ea"/>
          <a:cs typeface="+mn-cs"/>
        </a:defRPr>
      </a:lvl6pPr>
      <a:lvl7pPr marL="3071995" indent="-236307" algn="l" defTabSz="472615" rtl="0" eaLnBrk="1" latinLnBrk="0" hangingPunct="1">
        <a:spcBef>
          <a:spcPct val="20000"/>
        </a:spcBef>
        <a:buFont typeface="Arial"/>
        <a:buChar char="•"/>
        <a:defRPr sz="2085" kern="1200">
          <a:solidFill>
            <a:schemeClr val="tx1"/>
          </a:solidFill>
          <a:latin typeface="+mn-lt"/>
          <a:ea typeface="+mn-ea"/>
          <a:cs typeface="+mn-cs"/>
        </a:defRPr>
      </a:lvl7pPr>
      <a:lvl8pPr marL="3544610" indent="-236307" algn="l" defTabSz="472615" rtl="0" eaLnBrk="1" latinLnBrk="0" hangingPunct="1">
        <a:spcBef>
          <a:spcPct val="20000"/>
        </a:spcBef>
        <a:buFont typeface="Arial"/>
        <a:buChar char="•"/>
        <a:defRPr sz="2085" kern="1200">
          <a:solidFill>
            <a:schemeClr val="tx1"/>
          </a:solidFill>
          <a:latin typeface="+mn-lt"/>
          <a:ea typeface="+mn-ea"/>
          <a:cs typeface="+mn-cs"/>
        </a:defRPr>
      </a:lvl8pPr>
      <a:lvl9pPr marL="4017224" indent="-236307" algn="l" defTabSz="472615" rtl="0" eaLnBrk="1" latinLnBrk="0" hangingPunct="1">
        <a:spcBef>
          <a:spcPct val="20000"/>
        </a:spcBef>
        <a:buFont typeface="Arial"/>
        <a:buChar char="•"/>
        <a:defRPr sz="20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72615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72615" algn="l" defTabSz="472615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45230" algn="l" defTabSz="472615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17845" algn="l" defTabSz="472615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890459" algn="l" defTabSz="472615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363073" algn="l" defTabSz="472615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35688" algn="l" defTabSz="472615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08303" algn="l" defTabSz="472615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780916" algn="l" defTabSz="472615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854" y="1450"/>
          <a:ext cx="1845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32" name="think-cell Slide" r:id="rId9" imgW="359" imgH="360" progId="TCLayout.ActiveDocument.1">
                  <p:embed/>
                </p:oleObj>
              </mc:Choice>
              <mc:Fallback>
                <p:oleObj name="think-cell Slide" r:id="rId9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854" y="1450"/>
                        <a:ext cx="1845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3188" y="457030"/>
            <a:ext cx="11300781" cy="4570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3188" y="1436375"/>
            <a:ext cx="11300781" cy="443969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920805" y="6267809"/>
            <a:ext cx="7533855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7" b="0" i="0">
                <a:solidFill>
                  <a:schemeClr val="tx1">
                    <a:lumMod val="50000"/>
                    <a:lumOff val="50000"/>
                  </a:schemeClr>
                </a:solidFill>
                <a:latin typeface="Whitney Книжный" charset="0"/>
                <a:cs typeface="Whitney Книжный" charset="0"/>
              </a:defRPr>
            </a:lvl1pPr>
          </a:lstStyle>
          <a:p>
            <a:pPr defTabSz="472595"/>
            <a:endParaRPr lang="ru-RU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8010" y="6267809"/>
            <a:ext cx="585965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 b="0" i="0">
                <a:solidFill>
                  <a:schemeClr val="tx1">
                    <a:lumMod val="50000"/>
                    <a:lumOff val="50000"/>
                  </a:schemeClr>
                </a:solidFill>
                <a:latin typeface="Whitney Книжный" charset="0"/>
                <a:cs typeface="Whitney Книжный" charset="0"/>
              </a:defRPr>
            </a:lvl1pPr>
          </a:lstStyle>
          <a:p>
            <a:pPr defTabSz="472595"/>
            <a:fld id="{7DCF1EA8-601E-944A-8771-CD18B83E524B}" type="slidenum">
              <a:rPr lang="ru-RU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72595"/>
              <a:t>‹#›</a:t>
            </a:fld>
            <a:endParaRPr lang="ru-RU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735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</p:sldLayoutIdLst>
  <p:hf hdr="0" ftr="0" dt="0"/>
  <p:txStyles>
    <p:titleStyle>
      <a:lvl1pPr algn="l" defTabSz="472404" rtl="0" eaLnBrk="1" latinLnBrk="0" hangingPunct="1">
        <a:spcBef>
          <a:spcPct val="0"/>
        </a:spcBef>
        <a:buNone/>
        <a:defRPr sz="1632" b="0" i="0" kern="1200">
          <a:solidFill>
            <a:schemeClr val="bg2"/>
          </a:solidFill>
          <a:latin typeface="Whitney Book" charset="0"/>
          <a:ea typeface="Whitney Book" charset="0"/>
          <a:cs typeface="Whitney Book" charset="0"/>
        </a:defRPr>
      </a:lvl1pPr>
    </p:titleStyle>
    <p:bodyStyle>
      <a:lvl1pPr marL="244709" indent="-244709" algn="l" defTabSz="472404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•"/>
        <a:defRPr sz="1271" b="0" i="0" kern="1200">
          <a:solidFill>
            <a:schemeClr val="tx1">
              <a:lumMod val="65000"/>
              <a:lumOff val="35000"/>
            </a:schemeClr>
          </a:solidFill>
          <a:latin typeface="Whitney Книжный" charset="0"/>
          <a:ea typeface="+mn-ea"/>
          <a:cs typeface="Whitney Книжный" charset="0"/>
        </a:defRPr>
      </a:lvl1pPr>
      <a:lvl2pPr marL="489418" indent="-244709" algn="l" defTabSz="472404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–"/>
        <a:defRPr sz="1271" b="0" i="0" kern="1200">
          <a:solidFill>
            <a:schemeClr val="tx1">
              <a:lumMod val="65000"/>
              <a:lumOff val="35000"/>
            </a:schemeClr>
          </a:solidFill>
          <a:latin typeface="Whitney Книжный" charset="0"/>
          <a:ea typeface="+mn-ea"/>
          <a:cs typeface="Whitney Книжный" charset="0"/>
        </a:defRPr>
      </a:lvl2pPr>
      <a:lvl3pPr marL="734126" indent="-244709" algn="l" defTabSz="472404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•"/>
        <a:defRPr sz="1271" b="0" i="0" kern="1200">
          <a:solidFill>
            <a:schemeClr val="tx1">
              <a:lumMod val="65000"/>
              <a:lumOff val="35000"/>
            </a:schemeClr>
          </a:solidFill>
          <a:latin typeface="Whitney Книжный" charset="0"/>
          <a:ea typeface="+mn-ea"/>
          <a:cs typeface="Whitney Книжный" charset="0"/>
        </a:defRPr>
      </a:lvl3pPr>
      <a:lvl4pPr marL="978836" indent="-244709" algn="l" defTabSz="472404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–"/>
        <a:defRPr sz="1271" b="0" i="0" kern="1200">
          <a:solidFill>
            <a:schemeClr val="tx1">
              <a:lumMod val="65000"/>
              <a:lumOff val="35000"/>
            </a:schemeClr>
          </a:solidFill>
          <a:latin typeface="Whitney Книжный" charset="0"/>
          <a:ea typeface="+mn-ea"/>
          <a:cs typeface="Whitney Книжный" charset="0"/>
        </a:defRPr>
      </a:lvl4pPr>
      <a:lvl5pPr marL="1223545" indent="-244709" algn="l" defTabSz="472404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»"/>
        <a:defRPr sz="1271" b="0" i="0" kern="1200">
          <a:solidFill>
            <a:schemeClr val="tx1">
              <a:lumMod val="65000"/>
              <a:lumOff val="35000"/>
            </a:schemeClr>
          </a:solidFill>
          <a:latin typeface="Whitney Книжный" charset="0"/>
          <a:ea typeface="+mn-ea"/>
          <a:cs typeface="Whitney Книжный" charset="0"/>
        </a:defRPr>
      </a:lvl5pPr>
      <a:lvl6pPr marL="2598222" indent="-236201" algn="l" defTabSz="472404" rtl="0" eaLnBrk="1" latinLnBrk="0" hangingPunct="1">
        <a:spcBef>
          <a:spcPct val="20000"/>
        </a:spcBef>
        <a:buFont typeface="Arial"/>
        <a:buChar char="•"/>
        <a:defRPr sz="2087" kern="1200">
          <a:solidFill>
            <a:schemeClr val="tx1"/>
          </a:solidFill>
          <a:latin typeface="+mn-lt"/>
          <a:ea typeface="+mn-ea"/>
          <a:cs typeface="+mn-cs"/>
        </a:defRPr>
      </a:lvl6pPr>
      <a:lvl7pPr marL="3070626" indent="-236201" algn="l" defTabSz="472404" rtl="0" eaLnBrk="1" latinLnBrk="0" hangingPunct="1">
        <a:spcBef>
          <a:spcPct val="20000"/>
        </a:spcBef>
        <a:buFont typeface="Arial"/>
        <a:buChar char="•"/>
        <a:defRPr sz="2087" kern="1200">
          <a:solidFill>
            <a:schemeClr val="tx1"/>
          </a:solidFill>
          <a:latin typeface="+mn-lt"/>
          <a:ea typeface="+mn-ea"/>
          <a:cs typeface="+mn-cs"/>
        </a:defRPr>
      </a:lvl7pPr>
      <a:lvl8pPr marL="3543031" indent="-236201" algn="l" defTabSz="472404" rtl="0" eaLnBrk="1" latinLnBrk="0" hangingPunct="1">
        <a:spcBef>
          <a:spcPct val="20000"/>
        </a:spcBef>
        <a:buFont typeface="Arial"/>
        <a:buChar char="•"/>
        <a:defRPr sz="2087" kern="1200">
          <a:solidFill>
            <a:schemeClr val="tx1"/>
          </a:solidFill>
          <a:latin typeface="+mn-lt"/>
          <a:ea typeface="+mn-ea"/>
          <a:cs typeface="+mn-cs"/>
        </a:defRPr>
      </a:lvl8pPr>
      <a:lvl9pPr marL="4015434" indent="-236201" algn="l" defTabSz="472404" rtl="0" eaLnBrk="1" latinLnBrk="0" hangingPunct="1">
        <a:spcBef>
          <a:spcPct val="20000"/>
        </a:spcBef>
        <a:buFont typeface="Arial"/>
        <a:buChar char="•"/>
        <a:defRPr sz="20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724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72404" algn="l" defTabSz="4724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44807" algn="l" defTabSz="4724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17211" algn="l" defTabSz="4724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889615" algn="l" defTabSz="4724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362020" algn="l" defTabSz="4724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34424" algn="l" defTabSz="4724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06828" algn="l" defTabSz="4724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779232" algn="l" defTabSz="47240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4" y="6"/>
          <a:ext cx="220141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07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" y="6"/>
                        <a:ext cx="220141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4" y="6"/>
            <a:ext cx="220141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26006" fontAlgn="base">
              <a:spcBef>
                <a:spcPct val="0"/>
              </a:spcBef>
              <a:spcAft>
                <a:spcPct val="0"/>
              </a:spcAft>
            </a:pPr>
            <a:endParaRPr lang="en-US" sz="1627" dirty="0">
              <a:solidFill>
                <a:srgbClr val="000000"/>
              </a:solidFill>
              <a:sym typeface="Whitney Book" pitchFamily="50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37430" y="177560"/>
            <a:ext cx="11551909" cy="250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523189" y="77304"/>
            <a:ext cx="436017" cy="125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26006" fontAlgn="base">
              <a:spcBef>
                <a:spcPct val="0"/>
              </a:spcBef>
              <a:spcAft>
                <a:spcPct val="0"/>
              </a:spcAft>
            </a:pPr>
            <a:r>
              <a:rPr lang="ru-RU" sz="817" cap="all" dirty="0">
                <a:solidFill>
                  <a:srgbClr val="3F3F3F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523188" y="569621"/>
            <a:ext cx="11300781" cy="222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45" dirty="0">
                <a:solidFill>
                  <a:srgbClr val="3F3F3F"/>
                </a:solidFill>
                <a:latin typeface="Whitney Book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523188" y="6141265"/>
            <a:ext cx="11300781" cy="331455"/>
            <a:chOff x="119063" y="6306526"/>
            <a:chExt cx="8618537" cy="32485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6526"/>
              <a:ext cx="8618537" cy="123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17" dirty="0">
                  <a:solidFill>
                    <a:srgbClr val="3F3F3F"/>
                  </a:solidFill>
                  <a:latin typeface="Whitney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8146"/>
              <a:ext cx="7200000" cy="123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27" indent="-621927" defTabSz="913456" fontAlgn="base">
                <a:spcBef>
                  <a:spcPct val="0"/>
                </a:spcBef>
                <a:spcAft>
                  <a:spcPct val="0"/>
                </a:spcAft>
                <a:tabLst>
                  <a:tab pos="642983" algn="l"/>
                </a:tabLst>
              </a:pPr>
              <a:r>
                <a:rPr lang="ru-RU" sz="817" dirty="0">
                  <a:solidFill>
                    <a:srgbClr val="3F3F3F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14291" y="1393446"/>
            <a:ext cx="5912983" cy="408176"/>
            <a:chOff x="915" y="778"/>
            <a:chExt cx="2686" cy="25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78"/>
              <a:ext cx="2686" cy="25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260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65" b="1" dirty="0">
                  <a:solidFill>
                    <a:srgbClr val="DEDEDE"/>
                  </a:solidFill>
                </a:rPr>
                <a:t>Название документа</a:t>
              </a:r>
            </a:p>
            <a:p>
              <a:pPr defTabSz="8260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65" dirty="0">
                  <a:solidFill>
                    <a:srgbClr val="3F3F3F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9923" y="605471"/>
            <a:ext cx="414023" cy="153440"/>
            <a:chOff x="8442210" y="285750"/>
            <a:chExt cx="298565" cy="15038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42210" y="285750"/>
              <a:ext cx="298565" cy="15038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7" dirty="0">
                  <a:solidFill>
                    <a:srgbClr val="3F3F3F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42210" y="285750"/>
              <a:ext cx="0" cy="15038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42210" y="436134"/>
              <a:ext cx="29856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828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4" r:id="rId3"/>
    <p:sldLayoutId id="2147483715" r:id="rId4"/>
    <p:sldLayoutId id="2147483716" r:id="rId5"/>
    <p:sldLayoutId id="2147483740" r:id="rId6"/>
    <p:sldLayoutId id="2147483741" r:id="rId7"/>
    <p:sldLayoutId id="2147483742" r:id="rId8"/>
  </p:sldLayoutIdLst>
  <p:hf sldNum="0" hdr="0" ftr="0" dt="0"/>
  <p:txStyles>
    <p:titleStyle>
      <a:lvl1pPr algn="l" defTabSz="913456" rtl="0" eaLnBrk="1" fontAlgn="base" hangingPunct="1">
        <a:spcBef>
          <a:spcPct val="0"/>
        </a:spcBef>
        <a:spcAft>
          <a:spcPct val="0"/>
        </a:spcAft>
        <a:tabLst>
          <a:tab pos="275333" algn="l"/>
        </a:tabLst>
        <a:defRPr sz="1627" b="0" cap="all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47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891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37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784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84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2" indent="-195974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5000"/>
        <a:buFont typeface="Arial" panose="020B0604020202020204" pitchFamily="34" charset="0"/>
        <a:buChar char="•"/>
        <a:defRPr sz="1084" baseline="0">
          <a:solidFill>
            <a:schemeClr val="tx1"/>
          </a:solidFill>
          <a:latin typeface="+mn-lt"/>
        </a:defRPr>
      </a:lvl2pPr>
      <a:lvl3pPr marL="466447" indent="-267236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0000"/>
        <a:buFont typeface="Arial" charset="0"/>
        <a:buChar char="–"/>
        <a:defRPr sz="1084" baseline="0">
          <a:solidFill>
            <a:schemeClr val="tx1"/>
          </a:solidFill>
          <a:latin typeface="+mn-lt"/>
        </a:defRPr>
      </a:lvl3pPr>
      <a:lvl4pPr marL="626787" indent="-158720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0000"/>
        <a:buFont typeface="Arial" panose="020B0604020202020204" pitchFamily="34" charset="0"/>
        <a:buChar char="•"/>
        <a:defRPr sz="1084" baseline="0">
          <a:solidFill>
            <a:schemeClr val="tx1"/>
          </a:solidFill>
          <a:latin typeface="+mn-lt"/>
        </a:defRPr>
      </a:lvl4pPr>
      <a:lvl5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89000"/>
        <a:buFont typeface="Arial" charset="0"/>
        <a:buChar char="-"/>
        <a:defRPr sz="1084" baseline="0">
          <a:solidFill>
            <a:schemeClr val="tx1"/>
          </a:solidFill>
          <a:latin typeface="+mn-lt"/>
        </a:defRPr>
      </a:lvl5pPr>
      <a:lvl6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4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891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3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784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228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675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121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56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487" userDrawn="1">
          <p15:clr>
            <a:srgbClr val="F26B43"/>
          </p15:clr>
        </p15:guide>
        <p15:guide id="2" orient="horz" pos="4523" userDrawn="1">
          <p15:clr>
            <a:srgbClr val="F26B43"/>
          </p15:clr>
        </p15:guide>
        <p15:guide id="3" pos="297" userDrawn="1">
          <p15:clr>
            <a:srgbClr val="F26B43"/>
          </p15:clr>
        </p15:guide>
        <p15:guide id="4" pos="814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4" y="6"/>
          <a:ext cx="220141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2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" y="6"/>
                        <a:ext cx="220141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4" y="6"/>
            <a:ext cx="220141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26006" fontAlgn="base">
              <a:spcBef>
                <a:spcPct val="0"/>
              </a:spcBef>
              <a:spcAft>
                <a:spcPct val="0"/>
              </a:spcAft>
            </a:pPr>
            <a:endParaRPr lang="en-US" sz="1627" dirty="0">
              <a:solidFill>
                <a:srgbClr val="000000"/>
              </a:solidFill>
              <a:sym typeface="Whitney Book" pitchFamily="50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37430" y="177560"/>
            <a:ext cx="11551909" cy="250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523189" y="77304"/>
            <a:ext cx="436017" cy="125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26006" fontAlgn="base">
              <a:spcBef>
                <a:spcPct val="0"/>
              </a:spcBef>
              <a:spcAft>
                <a:spcPct val="0"/>
              </a:spcAft>
            </a:pPr>
            <a:r>
              <a:rPr lang="ru-RU" sz="817" cap="all" dirty="0">
                <a:solidFill>
                  <a:srgbClr val="3F3F3F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523188" y="569621"/>
            <a:ext cx="11300781" cy="222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45" dirty="0">
                <a:solidFill>
                  <a:srgbClr val="3F3F3F"/>
                </a:solidFill>
                <a:latin typeface="Whitney Book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523188" y="6141265"/>
            <a:ext cx="11300781" cy="331455"/>
            <a:chOff x="119063" y="6306526"/>
            <a:chExt cx="8618537" cy="32485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6526"/>
              <a:ext cx="8618537" cy="123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17" dirty="0">
                  <a:solidFill>
                    <a:srgbClr val="3F3F3F"/>
                  </a:solidFill>
                  <a:latin typeface="Whitney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8146"/>
              <a:ext cx="7200000" cy="123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27" indent="-621927" defTabSz="913456" fontAlgn="base">
                <a:spcBef>
                  <a:spcPct val="0"/>
                </a:spcBef>
                <a:spcAft>
                  <a:spcPct val="0"/>
                </a:spcAft>
                <a:tabLst>
                  <a:tab pos="642983" algn="l"/>
                </a:tabLst>
              </a:pPr>
              <a:r>
                <a:rPr lang="ru-RU" sz="817" dirty="0">
                  <a:solidFill>
                    <a:srgbClr val="3F3F3F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14291" y="1393446"/>
            <a:ext cx="5912983" cy="408176"/>
            <a:chOff x="915" y="778"/>
            <a:chExt cx="2686" cy="25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78"/>
              <a:ext cx="2686" cy="25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260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65" b="1" dirty="0">
                  <a:solidFill>
                    <a:srgbClr val="DEDEDE"/>
                  </a:solidFill>
                </a:rPr>
                <a:t>Название документа</a:t>
              </a:r>
            </a:p>
            <a:p>
              <a:pPr defTabSz="8260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65" dirty="0">
                  <a:solidFill>
                    <a:srgbClr val="3F3F3F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9923" y="605471"/>
            <a:ext cx="414023" cy="153440"/>
            <a:chOff x="8442210" y="285750"/>
            <a:chExt cx="298565" cy="15038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42210" y="285750"/>
              <a:ext cx="298565" cy="15038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7" dirty="0">
                  <a:solidFill>
                    <a:srgbClr val="3F3F3F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42210" y="285750"/>
              <a:ext cx="0" cy="15038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42210" y="436134"/>
              <a:ext cx="29856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98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</p:sldLayoutIdLst>
  <p:hf sldNum="0" hdr="0" ftr="0" dt="0"/>
  <p:txStyles>
    <p:titleStyle>
      <a:lvl1pPr algn="l" defTabSz="913456" rtl="0" eaLnBrk="1" fontAlgn="base" hangingPunct="1">
        <a:spcBef>
          <a:spcPct val="0"/>
        </a:spcBef>
        <a:spcAft>
          <a:spcPct val="0"/>
        </a:spcAft>
        <a:tabLst>
          <a:tab pos="275333" algn="l"/>
        </a:tabLst>
        <a:defRPr sz="1627" b="0" cap="all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47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891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37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784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84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2" indent="-195974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5000"/>
        <a:buFont typeface="Arial" panose="020B0604020202020204" pitchFamily="34" charset="0"/>
        <a:buChar char="•"/>
        <a:defRPr sz="1084" baseline="0">
          <a:solidFill>
            <a:schemeClr val="tx1"/>
          </a:solidFill>
          <a:latin typeface="+mn-lt"/>
        </a:defRPr>
      </a:lvl2pPr>
      <a:lvl3pPr marL="466447" indent="-267236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0000"/>
        <a:buFont typeface="Arial" charset="0"/>
        <a:buChar char="–"/>
        <a:defRPr sz="1084" baseline="0">
          <a:solidFill>
            <a:schemeClr val="tx1"/>
          </a:solidFill>
          <a:latin typeface="+mn-lt"/>
        </a:defRPr>
      </a:lvl3pPr>
      <a:lvl4pPr marL="626787" indent="-158720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0000"/>
        <a:buFont typeface="Arial" panose="020B0604020202020204" pitchFamily="34" charset="0"/>
        <a:buChar char="•"/>
        <a:defRPr sz="1084" baseline="0">
          <a:solidFill>
            <a:schemeClr val="tx1"/>
          </a:solidFill>
          <a:latin typeface="+mn-lt"/>
        </a:defRPr>
      </a:lvl4pPr>
      <a:lvl5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89000"/>
        <a:buFont typeface="Arial" charset="0"/>
        <a:buChar char="-"/>
        <a:defRPr sz="1084" baseline="0">
          <a:solidFill>
            <a:schemeClr val="tx1"/>
          </a:solidFill>
          <a:latin typeface="+mn-lt"/>
        </a:defRPr>
      </a:lvl5pPr>
      <a:lvl6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4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891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3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784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228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675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121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56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487" userDrawn="1">
          <p15:clr>
            <a:srgbClr val="F26B43"/>
          </p15:clr>
        </p15:guide>
        <p15:guide id="2" orient="horz" pos="4523" userDrawn="1">
          <p15:clr>
            <a:srgbClr val="F26B43"/>
          </p15:clr>
        </p15:guide>
        <p15:guide id="3" pos="297" userDrawn="1">
          <p15:clr>
            <a:srgbClr val="F26B43"/>
          </p15:clr>
        </p15:guide>
        <p15:guide id="4" pos="8149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4" y="6"/>
          <a:ext cx="220141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" y="6"/>
                        <a:ext cx="220141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4" y="6"/>
            <a:ext cx="220141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26006" fontAlgn="base">
              <a:spcBef>
                <a:spcPct val="0"/>
              </a:spcBef>
              <a:spcAft>
                <a:spcPct val="0"/>
              </a:spcAft>
            </a:pPr>
            <a:endParaRPr lang="en-US" sz="1627" dirty="0">
              <a:solidFill>
                <a:srgbClr val="000000"/>
              </a:solidFill>
              <a:sym typeface="Whitney Book" pitchFamily="50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37430" y="177560"/>
            <a:ext cx="11551909" cy="250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523189" y="77304"/>
            <a:ext cx="436017" cy="125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26006" fontAlgn="base">
              <a:spcBef>
                <a:spcPct val="0"/>
              </a:spcBef>
              <a:spcAft>
                <a:spcPct val="0"/>
              </a:spcAft>
            </a:pPr>
            <a:r>
              <a:rPr lang="ru-RU" sz="817" cap="all" dirty="0">
                <a:solidFill>
                  <a:srgbClr val="3F3F3F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523188" y="569621"/>
            <a:ext cx="11300781" cy="222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45" dirty="0">
                <a:solidFill>
                  <a:srgbClr val="3F3F3F"/>
                </a:solidFill>
                <a:latin typeface="Whitney Book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523188" y="6141265"/>
            <a:ext cx="11300781" cy="331455"/>
            <a:chOff x="119063" y="6306526"/>
            <a:chExt cx="8618537" cy="32485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6526"/>
              <a:ext cx="8618537" cy="123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17" dirty="0">
                  <a:solidFill>
                    <a:srgbClr val="3F3F3F"/>
                  </a:solidFill>
                  <a:latin typeface="Whitney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8146"/>
              <a:ext cx="7200000" cy="123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27" indent="-621927" defTabSz="913456" fontAlgn="base">
                <a:spcBef>
                  <a:spcPct val="0"/>
                </a:spcBef>
                <a:spcAft>
                  <a:spcPct val="0"/>
                </a:spcAft>
                <a:tabLst>
                  <a:tab pos="642983" algn="l"/>
                </a:tabLst>
              </a:pPr>
              <a:r>
                <a:rPr lang="ru-RU" sz="817" dirty="0">
                  <a:solidFill>
                    <a:srgbClr val="3F3F3F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14291" y="1393446"/>
            <a:ext cx="5912983" cy="408176"/>
            <a:chOff x="915" y="778"/>
            <a:chExt cx="2686" cy="25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78"/>
              <a:ext cx="2686" cy="25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260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65" b="1" dirty="0">
                  <a:solidFill>
                    <a:srgbClr val="DEDEDE"/>
                  </a:solidFill>
                </a:rPr>
                <a:t>Название документа</a:t>
              </a:r>
            </a:p>
            <a:p>
              <a:pPr defTabSz="8260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65" dirty="0">
                  <a:solidFill>
                    <a:srgbClr val="3F3F3F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9923" y="605471"/>
            <a:ext cx="414023" cy="153440"/>
            <a:chOff x="8442210" y="285750"/>
            <a:chExt cx="298565" cy="15038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42210" y="285750"/>
              <a:ext cx="298565" cy="15038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7" dirty="0">
                  <a:solidFill>
                    <a:srgbClr val="3F3F3F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42210" y="285750"/>
              <a:ext cx="0" cy="15038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42210" y="436134"/>
              <a:ext cx="29856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70" name="Рисунок 7">
            <a:extLst>
              <a:ext uri="{FF2B5EF4-FFF2-40B4-BE49-F238E27FC236}">
                <a16:creationId xmlns:a16="http://schemas.microsoft.com/office/drawing/2014/main" xmlns="" id="{FD82F718-7FC2-4750-BE58-B1318481429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185" y="6571091"/>
            <a:ext cx="209274" cy="162716"/>
          </a:xfrm>
          <a:prstGeom prst="rect">
            <a:avLst/>
          </a:prstGeom>
        </p:spPr>
      </p:pic>
      <p:sp>
        <p:nvSpPr>
          <p:cNvPr id="23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8219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</p:sldLayoutIdLst>
  <p:hf sldNum="0" hdr="0" ftr="0" dt="0"/>
  <p:txStyles>
    <p:titleStyle>
      <a:lvl1pPr algn="l" defTabSz="913456" rtl="0" eaLnBrk="1" fontAlgn="base" hangingPunct="1">
        <a:spcBef>
          <a:spcPct val="0"/>
        </a:spcBef>
        <a:spcAft>
          <a:spcPct val="0"/>
        </a:spcAft>
        <a:tabLst>
          <a:tab pos="275333" algn="l"/>
        </a:tabLst>
        <a:defRPr sz="1627" b="0" cap="all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47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891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37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784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84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2" indent="-195974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5000"/>
        <a:buFont typeface="Arial" panose="020B0604020202020204" pitchFamily="34" charset="0"/>
        <a:buChar char="•"/>
        <a:defRPr sz="1084" baseline="0">
          <a:solidFill>
            <a:schemeClr val="tx1"/>
          </a:solidFill>
          <a:latin typeface="+mn-lt"/>
        </a:defRPr>
      </a:lvl2pPr>
      <a:lvl3pPr marL="466447" indent="-267236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0000"/>
        <a:buFont typeface="Arial" charset="0"/>
        <a:buChar char="–"/>
        <a:defRPr sz="1084" baseline="0">
          <a:solidFill>
            <a:schemeClr val="tx1"/>
          </a:solidFill>
          <a:latin typeface="+mn-lt"/>
        </a:defRPr>
      </a:lvl3pPr>
      <a:lvl4pPr marL="626787" indent="-158720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0000"/>
        <a:buFont typeface="Arial" panose="020B0604020202020204" pitchFamily="34" charset="0"/>
        <a:buChar char="•"/>
        <a:defRPr sz="1084" baseline="0">
          <a:solidFill>
            <a:schemeClr val="tx1"/>
          </a:solidFill>
          <a:latin typeface="+mn-lt"/>
        </a:defRPr>
      </a:lvl4pPr>
      <a:lvl5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89000"/>
        <a:buFont typeface="Arial" charset="0"/>
        <a:buChar char="-"/>
        <a:defRPr sz="1084" baseline="0">
          <a:solidFill>
            <a:schemeClr val="tx1"/>
          </a:solidFill>
          <a:latin typeface="+mn-lt"/>
        </a:defRPr>
      </a:lvl5pPr>
      <a:lvl6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4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891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3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784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228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675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121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56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487" userDrawn="1">
          <p15:clr>
            <a:srgbClr val="F26B43"/>
          </p15:clr>
        </p15:guide>
        <p15:guide id="2" orient="horz" pos="4523" userDrawn="1">
          <p15:clr>
            <a:srgbClr val="F26B43"/>
          </p15:clr>
        </p15:guide>
        <p15:guide id="3" pos="297" userDrawn="1">
          <p15:clr>
            <a:srgbClr val="F26B43"/>
          </p15:clr>
        </p15:guide>
        <p15:guide id="4" pos="8149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4" y="6"/>
          <a:ext cx="220141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2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" y="6"/>
                        <a:ext cx="220141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4" y="6"/>
            <a:ext cx="220141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26006" fontAlgn="base">
              <a:spcBef>
                <a:spcPct val="0"/>
              </a:spcBef>
              <a:spcAft>
                <a:spcPct val="0"/>
              </a:spcAft>
            </a:pPr>
            <a:endParaRPr lang="en-US" sz="1627" dirty="0">
              <a:solidFill>
                <a:srgbClr val="000000"/>
              </a:solidFill>
              <a:sym typeface="Whitney Book" pitchFamily="50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37430" y="177560"/>
            <a:ext cx="11551909" cy="250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523189" y="77304"/>
            <a:ext cx="436017" cy="125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26006" fontAlgn="base">
              <a:spcBef>
                <a:spcPct val="0"/>
              </a:spcBef>
              <a:spcAft>
                <a:spcPct val="0"/>
              </a:spcAft>
            </a:pPr>
            <a:r>
              <a:rPr lang="ru-RU" sz="817" cap="all" dirty="0">
                <a:solidFill>
                  <a:srgbClr val="3F3F3F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523188" y="569621"/>
            <a:ext cx="11300781" cy="222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45" dirty="0">
                <a:solidFill>
                  <a:srgbClr val="3F3F3F"/>
                </a:solidFill>
                <a:latin typeface="Whitney Book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523188" y="6141265"/>
            <a:ext cx="11300781" cy="331455"/>
            <a:chOff x="119063" y="6306526"/>
            <a:chExt cx="8618537" cy="32485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6526"/>
              <a:ext cx="8618537" cy="123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17" dirty="0">
                  <a:solidFill>
                    <a:srgbClr val="3F3F3F"/>
                  </a:solidFill>
                  <a:latin typeface="Whitney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8146"/>
              <a:ext cx="7200000" cy="123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27" indent="-621927" defTabSz="913456" fontAlgn="base">
                <a:spcBef>
                  <a:spcPct val="0"/>
                </a:spcBef>
                <a:spcAft>
                  <a:spcPct val="0"/>
                </a:spcAft>
                <a:tabLst>
                  <a:tab pos="642983" algn="l"/>
                </a:tabLst>
              </a:pPr>
              <a:r>
                <a:rPr lang="ru-RU" sz="817" dirty="0">
                  <a:solidFill>
                    <a:srgbClr val="3F3F3F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14291" y="1393446"/>
            <a:ext cx="5912983" cy="408176"/>
            <a:chOff x="915" y="778"/>
            <a:chExt cx="2686" cy="25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78"/>
              <a:ext cx="2686" cy="25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260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65" b="1" dirty="0">
                  <a:solidFill>
                    <a:srgbClr val="DEDEDE"/>
                  </a:solidFill>
                </a:rPr>
                <a:t>Название документа</a:t>
              </a:r>
            </a:p>
            <a:p>
              <a:pPr defTabSz="8260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65" dirty="0">
                  <a:solidFill>
                    <a:srgbClr val="3F3F3F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9923" y="605471"/>
            <a:ext cx="414023" cy="153440"/>
            <a:chOff x="8442210" y="285750"/>
            <a:chExt cx="298565" cy="15038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42210" y="285750"/>
              <a:ext cx="298565" cy="15038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7" dirty="0">
                  <a:solidFill>
                    <a:srgbClr val="3F3F3F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42210" y="285750"/>
              <a:ext cx="0" cy="15038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42210" y="436134"/>
              <a:ext cx="29856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946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</p:sldLayoutIdLst>
  <p:hf sldNum="0" hdr="0" ftr="0" dt="0"/>
  <p:txStyles>
    <p:titleStyle>
      <a:lvl1pPr algn="l" defTabSz="913456" rtl="0" eaLnBrk="1" fontAlgn="base" hangingPunct="1">
        <a:spcBef>
          <a:spcPct val="0"/>
        </a:spcBef>
        <a:spcAft>
          <a:spcPct val="0"/>
        </a:spcAft>
        <a:tabLst>
          <a:tab pos="275333" algn="l"/>
        </a:tabLst>
        <a:defRPr sz="1627" b="0" cap="all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47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891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37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784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84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2" indent="-195974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5000"/>
        <a:buFont typeface="Arial" panose="020B0604020202020204" pitchFamily="34" charset="0"/>
        <a:buChar char="•"/>
        <a:defRPr sz="1084" baseline="0">
          <a:solidFill>
            <a:schemeClr val="tx1"/>
          </a:solidFill>
          <a:latin typeface="+mn-lt"/>
        </a:defRPr>
      </a:lvl2pPr>
      <a:lvl3pPr marL="466447" indent="-267236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0000"/>
        <a:buFont typeface="Arial" charset="0"/>
        <a:buChar char="–"/>
        <a:defRPr sz="1084" baseline="0">
          <a:solidFill>
            <a:schemeClr val="tx1"/>
          </a:solidFill>
          <a:latin typeface="+mn-lt"/>
        </a:defRPr>
      </a:lvl3pPr>
      <a:lvl4pPr marL="626787" indent="-158720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0000"/>
        <a:buFont typeface="Arial" panose="020B0604020202020204" pitchFamily="34" charset="0"/>
        <a:buChar char="•"/>
        <a:defRPr sz="1084" baseline="0">
          <a:solidFill>
            <a:schemeClr val="tx1"/>
          </a:solidFill>
          <a:latin typeface="+mn-lt"/>
        </a:defRPr>
      </a:lvl4pPr>
      <a:lvl5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89000"/>
        <a:buFont typeface="Arial" charset="0"/>
        <a:buChar char="-"/>
        <a:defRPr sz="1084" baseline="0">
          <a:solidFill>
            <a:schemeClr val="tx1"/>
          </a:solidFill>
          <a:latin typeface="+mn-lt"/>
        </a:defRPr>
      </a:lvl5pPr>
      <a:lvl6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4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891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3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784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228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675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121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56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487" userDrawn="1">
          <p15:clr>
            <a:srgbClr val="F26B43"/>
          </p15:clr>
        </p15:guide>
        <p15:guide id="2" orient="horz" pos="4523" userDrawn="1">
          <p15:clr>
            <a:srgbClr val="F26B43"/>
          </p15:clr>
        </p15:guide>
        <p15:guide id="3" pos="297" userDrawn="1">
          <p15:clr>
            <a:srgbClr val="F26B43"/>
          </p15:clr>
        </p15:guide>
        <p15:guide id="4" pos="8149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4" y="6"/>
          <a:ext cx="220141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1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" y="6"/>
                        <a:ext cx="220141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4" y="6"/>
            <a:ext cx="220141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26006" fontAlgn="base">
              <a:spcBef>
                <a:spcPct val="0"/>
              </a:spcBef>
              <a:spcAft>
                <a:spcPct val="0"/>
              </a:spcAft>
            </a:pPr>
            <a:endParaRPr lang="en-US" sz="1627" dirty="0">
              <a:solidFill>
                <a:srgbClr val="000000"/>
              </a:solidFill>
              <a:sym typeface="Whitney Book" pitchFamily="50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37430" y="177560"/>
            <a:ext cx="11551909" cy="250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523189" y="77304"/>
            <a:ext cx="436017" cy="125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26006" fontAlgn="base">
              <a:spcBef>
                <a:spcPct val="0"/>
              </a:spcBef>
              <a:spcAft>
                <a:spcPct val="0"/>
              </a:spcAft>
            </a:pPr>
            <a:r>
              <a:rPr lang="ru-RU" sz="817" cap="all" dirty="0">
                <a:solidFill>
                  <a:srgbClr val="3F3F3F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523188" y="569621"/>
            <a:ext cx="11300781" cy="222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45" dirty="0">
                <a:solidFill>
                  <a:srgbClr val="3F3F3F"/>
                </a:solidFill>
                <a:latin typeface="Whitney Book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523188" y="6141265"/>
            <a:ext cx="11300781" cy="331455"/>
            <a:chOff x="119063" y="6306526"/>
            <a:chExt cx="8618537" cy="32485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6526"/>
              <a:ext cx="8618537" cy="123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17" dirty="0">
                  <a:solidFill>
                    <a:srgbClr val="3F3F3F"/>
                  </a:solidFill>
                  <a:latin typeface="Whitney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8146"/>
              <a:ext cx="7200000" cy="123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27" indent="-621927" defTabSz="913456" fontAlgn="base">
                <a:spcBef>
                  <a:spcPct val="0"/>
                </a:spcBef>
                <a:spcAft>
                  <a:spcPct val="0"/>
                </a:spcAft>
                <a:tabLst>
                  <a:tab pos="642983" algn="l"/>
                </a:tabLst>
              </a:pPr>
              <a:r>
                <a:rPr lang="ru-RU" sz="817" dirty="0">
                  <a:solidFill>
                    <a:srgbClr val="3F3F3F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14291" y="1393446"/>
            <a:ext cx="5912983" cy="408176"/>
            <a:chOff x="915" y="778"/>
            <a:chExt cx="2686" cy="25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78"/>
              <a:ext cx="2686" cy="25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260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65" b="1" dirty="0">
                  <a:solidFill>
                    <a:srgbClr val="DEDEDE"/>
                  </a:solidFill>
                </a:rPr>
                <a:t>Название документа</a:t>
              </a:r>
            </a:p>
            <a:p>
              <a:pPr defTabSz="82600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65" dirty="0">
                  <a:solidFill>
                    <a:srgbClr val="3F3F3F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9923" y="605471"/>
            <a:ext cx="414023" cy="153440"/>
            <a:chOff x="8442210" y="285750"/>
            <a:chExt cx="298565" cy="15038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42210" y="285750"/>
              <a:ext cx="298565" cy="15038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5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817" dirty="0">
                  <a:solidFill>
                    <a:srgbClr val="3F3F3F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42210" y="285750"/>
              <a:ext cx="0" cy="15038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42210" y="436134"/>
              <a:ext cx="29856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Номер слайда 8"/>
          <p:cNvSpPr txBox="1">
            <a:spLocks/>
          </p:cNvSpPr>
          <p:nvPr userDrawn="1"/>
        </p:nvSpPr>
        <p:spPr>
          <a:xfrm>
            <a:off x="11530946" y="6509356"/>
            <a:ext cx="506568" cy="22169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997" dirty="0"/>
              <a:t> </a:t>
            </a:r>
            <a:fld id="{7DCF1EA8-601E-944A-8771-CD18B83E524B}" type="slidenum">
              <a:rPr lang="ru-RU" sz="997" smtClean="0">
                <a:solidFill>
                  <a:srgbClr val="797A7C"/>
                </a:solidFill>
              </a:rPr>
              <a:pPr algn="r">
                <a:defRPr/>
              </a:pPr>
              <a:t>‹#›</a:t>
            </a:fld>
            <a:endParaRPr lang="ru-RU" sz="997" dirty="0">
              <a:solidFill>
                <a:srgbClr val="797A7C"/>
              </a:solidFill>
              <a:latin typeface="Whitney Book" pitchFamily="50" charset="0"/>
              <a:cs typeface="Whitney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1541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</p:sldLayoutIdLst>
  <p:hf sldNum="0" hdr="0" ftr="0" dt="0"/>
  <p:txStyles>
    <p:titleStyle>
      <a:lvl1pPr algn="l" defTabSz="913456" rtl="0" eaLnBrk="1" fontAlgn="base" hangingPunct="1">
        <a:spcBef>
          <a:spcPct val="0"/>
        </a:spcBef>
        <a:spcAft>
          <a:spcPct val="0"/>
        </a:spcAft>
        <a:tabLst>
          <a:tab pos="275333" algn="l"/>
        </a:tabLst>
        <a:defRPr sz="1627" b="0" cap="all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47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891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37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784" algn="l" defTabSz="91345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84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2" indent="-195974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5000"/>
        <a:buFont typeface="Arial" panose="020B0604020202020204" pitchFamily="34" charset="0"/>
        <a:buChar char="•"/>
        <a:defRPr sz="1084" baseline="0">
          <a:solidFill>
            <a:schemeClr val="tx1"/>
          </a:solidFill>
          <a:latin typeface="+mn-lt"/>
        </a:defRPr>
      </a:lvl2pPr>
      <a:lvl3pPr marL="466447" indent="-267236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0000"/>
        <a:buFont typeface="Arial" charset="0"/>
        <a:buChar char="–"/>
        <a:defRPr sz="1084" baseline="0">
          <a:solidFill>
            <a:schemeClr val="tx1"/>
          </a:solidFill>
          <a:latin typeface="+mn-lt"/>
        </a:defRPr>
      </a:lvl3pPr>
      <a:lvl4pPr marL="626787" indent="-158720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120000"/>
        <a:buFont typeface="Arial" panose="020B0604020202020204" pitchFamily="34" charset="0"/>
        <a:buChar char="•"/>
        <a:defRPr sz="1084" baseline="0">
          <a:solidFill>
            <a:schemeClr val="tx1"/>
          </a:solidFill>
          <a:latin typeface="+mn-lt"/>
        </a:defRPr>
      </a:lvl4pPr>
      <a:lvl5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rgbClr val="00BBE3"/>
        </a:buClr>
        <a:buSzPct val="89000"/>
        <a:buFont typeface="Arial" charset="0"/>
        <a:buChar char="-"/>
        <a:defRPr sz="1084" baseline="0">
          <a:solidFill>
            <a:schemeClr val="tx1"/>
          </a:solidFill>
          <a:latin typeface="+mn-lt"/>
        </a:defRPr>
      </a:lvl5pPr>
      <a:lvl6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72" indent="-132807" algn="l" defTabSz="9134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4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891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3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784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228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675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121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567" algn="l" defTabSz="93289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487" userDrawn="1">
          <p15:clr>
            <a:srgbClr val="F26B43"/>
          </p15:clr>
        </p15:guide>
        <p15:guide id="2" orient="horz" pos="4523" userDrawn="1">
          <p15:clr>
            <a:srgbClr val="F26B43"/>
          </p15:clr>
        </p15:guide>
        <p15:guide id="3" pos="297" userDrawn="1">
          <p15:clr>
            <a:srgbClr val="F26B43"/>
          </p15:clr>
        </p15:guide>
        <p15:guide id="4" pos="8149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3188" y="457030"/>
            <a:ext cx="11300781" cy="4570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3188" y="1436375"/>
            <a:ext cx="11300781" cy="443969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920805" y="6267809"/>
            <a:ext cx="7533855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7" b="0" i="0">
                <a:solidFill>
                  <a:schemeClr val="tx1">
                    <a:lumMod val="50000"/>
                    <a:lumOff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defTabSz="472827"/>
            <a:endParaRPr lang="ru-RU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38006" y="6267809"/>
            <a:ext cx="585965" cy="163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7" b="0" i="0">
                <a:solidFill>
                  <a:schemeClr val="tx1">
                    <a:lumMod val="50000"/>
                    <a:lumOff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defTabSz="472827"/>
            <a:fld id="{7DCF1EA8-601E-944A-8771-CD18B83E524B}" type="slidenum">
              <a:rPr lang="ru-RU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72827"/>
              <a:t>‹#›</a:t>
            </a:fld>
            <a:endParaRPr lang="ru-RU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31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72639" rtl="0" eaLnBrk="1" latinLnBrk="0" hangingPunct="1">
        <a:spcBef>
          <a:spcPct val="0"/>
        </a:spcBef>
        <a:buNone/>
        <a:defRPr sz="1632" b="0" i="0" kern="1200">
          <a:solidFill>
            <a:schemeClr val="bg2"/>
          </a:solidFill>
          <a:latin typeface="Calibri" charset="0"/>
          <a:ea typeface="Calibri" charset="0"/>
          <a:cs typeface="Calibri" charset="0"/>
        </a:defRPr>
      </a:lvl1pPr>
    </p:titleStyle>
    <p:bodyStyle>
      <a:lvl1pPr marL="244830" indent="-244830" algn="l" defTabSz="472639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•"/>
        <a:defRPr sz="1271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1pPr>
      <a:lvl2pPr marL="489660" indent="-244830" algn="l" defTabSz="472639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–"/>
        <a:defRPr sz="1271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2pPr>
      <a:lvl3pPr marL="734490" indent="-244830" algn="l" defTabSz="472639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•"/>
        <a:defRPr sz="1271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3pPr>
      <a:lvl4pPr marL="979320" indent="-244830" algn="l" defTabSz="472639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–"/>
        <a:defRPr sz="1271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4pPr>
      <a:lvl5pPr marL="1224149" indent="-244830" algn="l" defTabSz="472639" rtl="0" eaLnBrk="1" latinLnBrk="0" hangingPunct="1">
        <a:spcBef>
          <a:spcPts val="0"/>
        </a:spcBef>
        <a:spcAft>
          <a:spcPts val="544"/>
        </a:spcAft>
        <a:buClr>
          <a:schemeClr val="bg2"/>
        </a:buClr>
        <a:buFont typeface="Arial"/>
        <a:buChar char="»"/>
        <a:defRPr sz="1271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5pPr>
      <a:lvl6pPr marL="2599508" indent="-236319" algn="l" defTabSz="472639" rtl="0" eaLnBrk="1" latinLnBrk="0" hangingPunct="1">
        <a:spcBef>
          <a:spcPct val="20000"/>
        </a:spcBef>
        <a:buFont typeface="Arial"/>
        <a:buChar char="•"/>
        <a:defRPr sz="2085" kern="1200">
          <a:solidFill>
            <a:schemeClr val="tx1"/>
          </a:solidFill>
          <a:latin typeface="+mn-lt"/>
          <a:ea typeface="+mn-ea"/>
          <a:cs typeface="+mn-cs"/>
        </a:defRPr>
      </a:lvl6pPr>
      <a:lvl7pPr marL="3072146" indent="-236319" algn="l" defTabSz="472639" rtl="0" eaLnBrk="1" latinLnBrk="0" hangingPunct="1">
        <a:spcBef>
          <a:spcPct val="20000"/>
        </a:spcBef>
        <a:buFont typeface="Arial"/>
        <a:buChar char="•"/>
        <a:defRPr sz="2085" kern="1200">
          <a:solidFill>
            <a:schemeClr val="tx1"/>
          </a:solidFill>
          <a:latin typeface="+mn-lt"/>
          <a:ea typeface="+mn-ea"/>
          <a:cs typeface="+mn-cs"/>
        </a:defRPr>
      </a:lvl7pPr>
      <a:lvl8pPr marL="3544785" indent="-236319" algn="l" defTabSz="472639" rtl="0" eaLnBrk="1" latinLnBrk="0" hangingPunct="1">
        <a:spcBef>
          <a:spcPct val="20000"/>
        </a:spcBef>
        <a:buFont typeface="Arial"/>
        <a:buChar char="•"/>
        <a:defRPr sz="2085" kern="1200">
          <a:solidFill>
            <a:schemeClr val="tx1"/>
          </a:solidFill>
          <a:latin typeface="+mn-lt"/>
          <a:ea typeface="+mn-ea"/>
          <a:cs typeface="+mn-cs"/>
        </a:defRPr>
      </a:lvl8pPr>
      <a:lvl9pPr marL="4017421" indent="-236319" algn="l" defTabSz="472639" rtl="0" eaLnBrk="1" latinLnBrk="0" hangingPunct="1">
        <a:spcBef>
          <a:spcPct val="20000"/>
        </a:spcBef>
        <a:buFont typeface="Arial"/>
        <a:buChar char="•"/>
        <a:defRPr sz="20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72639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1pPr>
      <a:lvl2pPr marL="472639" algn="l" defTabSz="472639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2pPr>
      <a:lvl3pPr marL="945275" algn="l" defTabSz="472639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3pPr>
      <a:lvl4pPr marL="1417914" algn="l" defTabSz="472639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4pPr>
      <a:lvl5pPr marL="1890551" algn="l" defTabSz="472639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5pPr>
      <a:lvl6pPr marL="2363189" algn="l" defTabSz="472639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835828" algn="l" defTabSz="472639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308464" algn="l" defTabSz="472639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781101" algn="l" defTabSz="472639" rtl="0" eaLnBrk="1" latinLnBrk="0" hangingPunct="1"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8" Type="http://schemas.openxmlformats.org/officeDocument/2006/relationships/image" Target="../media/image21.png"/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12" Type="http://schemas.openxmlformats.org/officeDocument/2006/relationships/image" Target="../media/image17.png"/><Relationship Id="rId17" Type="http://schemas.openxmlformats.org/officeDocument/2006/relationships/image" Target="../media/image20.emf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9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tiff"/><Relationship Id="rId11" Type="http://schemas.openxmlformats.org/officeDocument/2006/relationships/image" Target="../media/image16.jpeg"/><Relationship Id="rId5" Type="http://schemas.openxmlformats.org/officeDocument/2006/relationships/image" Target="../media/image11.emf"/><Relationship Id="rId15" Type="http://schemas.openxmlformats.org/officeDocument/2006/relationships/image" Target="../media/image18.png"/><Relationship Id="rId10" Type="http://schemas.openxmlformats.org/officeDocument/2006/relationships/image" Target="../media/image1.emf"/><Relationship Id="rId4" Type="http://schemas.openxmlformats.org/officeDocument/2006/relationships/image" Target="../media/image10.jpeg"/><Relationship Id="rId9" Type="http://schemas.openxmlformats.org/officeDocument/2006/relationships/image" Target="../media/image15.png"/><Relationship Id="rId14" Type="http://schemas.openxmlformats.org/officeDocument/2006/relationships/image" Target="../media/image2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7.xml"/><Relationship Id="rId7" Type="http://schemas.openxmlformats.org/officeDocument/2006/relationships/image" Target="../media/image2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hyperlink" Target="mailto:Grebneva_OV@open.ru" TargetMode="External"/><Relationship Id="rId7" Type="http://schemas.openxmlformats.org/officeDocument/2006/relationships/hyperlink" Target="mailto:parpura_ia@open.ru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8.png"/><Relationship Id="rId11" Type="http://schemas.openxmlformats.org/officeDocument/2006/relationships/image" Target="../media/image32.emf"/><Relationship Id="rId5" Type="http://schemas.openxmlformats.org/officeDocument/2006/relationships/image" Target="../media/image27.jpeg"/><Relationship Id="rId10" Type="http://schemas.openxmlformats.org/officeDocument/2006/relationships/image" Target="../media/image31.jpeg"/><Relationship Id="rId4" Type="http://schemas.openxmlformats.org/officeDocument/2006/relationships/hyperlink" Target="mailto:elena/mozgolina@open.ru" TargetMode="External"/><Relationship Id="rId9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IMG_7254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5157"/>
            <a:ext cx="12430859" cy="4066558"/>
          </a:xfrm>
          <a:prstGeom prst="rect">
            <a:avLst/>
          </a:prstGeom>
        </p:spPr>
      </p:pic>
      <p:sp>
        <p:nvSpPr>
          <p:cNvPr id="9" name="object 19"/>
          <p:cNvSpPr/>
          <p:nvPr/>
        </p:nvSpPr>
        <p:spPr>
          <a:xfrm>
            <a:off x="844120" y="2076224"/>
            <a:ext cx="5241996" cy="2967865"/>
          </a:xfrm>
          <a:custGeom>
            <a:avLst/>
            <a:gdLst/>
            <a:ahLst/>
            <a:cxnLst/>
            <a:rect l="l" t="t" r="r" b="b"/>
            <a:pathLst>
              <a:path w="4508500" h="3274872">
                <a:moveTo>
                  <a:pt x="0" y="0"/>
                </a:moveTo>
                <a:lnTo>
                  <a:pt x="0" y="3274872"/>
                </a:lnTo>
                <a:lnTo>
                  <a:pt x="4508500" y="2908147"/>
                </a:lnTo>
                <a:lnTo>
                  <a:pt x="4508500" y="359676"/>
                </a:lnTo>
                <a:lnTo>
                  <a:pt x="0" y="0"/>
                </a:lnTo>
                <a:close/>
              </a:path>
            </a:pathLst>
          </a:custGeom>
          <a:solidFill>
            <a:srgbClr val="00BDE6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+mj-lt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301367" y="3016931"/>
            <a:ext cx="4621416" cy="1086451"/>
          </a:xfrm>
        </p:spPr>
        <p:txBody>
          <a:bodyPr/>
          <a:lstStyle/>
          <a:p>
            <a:r>
              <a:rPr lang="ru-RU" sz="2400" dirty="0" smtClean="0">
                <a:latin typeface="+mj-lt"/>
                <a:ea typeface="+mj-ea"/>
                <a:cs typeface="+mj-cs"/>
              </a:rPr>
              <a:t/>
            </a:r>
            <a:br>
              <a:rPr lang="ru-RU" sz="2400" dirty="0" smtClean="0">
                <a:latin typeface="+mj-lt"/>
                <a:ea typeface="+mj-ea"/>
                <a:cs typeface="+mj-cs"/>
              </a:rPr>
            </a:br>
            <a:r>
              <a:rPr lang="ru-RU" sz="2400" dirty="0" smtClean="0">
                <a:latin typeface="+mj-lt"/>
                <a:ea typeface="+mj-ea"/>
                <a:cs typeface="+mj-cs"/>
              </a:rPr>
              <a:t>БАНК ОТКРЫТИЕ</a:t>
            </a:r>
            <a:endParaRPr lang="ru-RU" sz="2400" dirty="0">
              <a:latin typeface="Whitney Book" pitchFamily="50" charset="0"/>
              <a:cs typeface="Whitney Book" pitchFamily="50" charset="0"/>
            </a:endParaRPr>
          </a:p>
        </p:txBody>
      </p:sp>
      <p:sp>
        <p:nvSpPr>
          <p:cNvPr id="10" name="Подзаголовок 9"/>
          <p:cNvSpPr>
            <a:spLocks noGrp="1"/>
          </p:cNvSpPr>
          <p:nvPr>
            <p:ph type="subTitle" idx="1"/>
          </p:nvPr>
        </p:nvSpPr>
        <p:spPr>
          <a:xfrm>
            <a:off x="1137123" y="3835929"/>
            <a:ext cx="4622327" cy="850542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1617826" y="6431452"/>
            <a:ext cx="471648" cy="3401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826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Picture 2" descr="http://net.open.ru/common/img/uploaded/intranet/img/logo/open_bank_factoring_2017_ver_ru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335" y="4603145"/>
            <a:ext cx="1988526" cy="845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4" name="Picture 6" descr="http://net.open.ru/common/img/uploaded/intranet/img/logo/open_asset_rus_v201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6864" y="4583024"/>
            <a:ext cx="2036169" cy="86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6" name="Прямая со стрелкой 75"/>
          <p:cNvCxnSpPr>
            <a:cxnSpLocks/>
          </p:cNvCxnSpPr>
          <p:nvPr/>
        </p:nvCxnSpPr>
        <p:spPr>
          <a:xfrm>
            <a:off x="6104054" y="3337710"/>
            <a:ext cx="0" cy="960990"/>
          </a:xfrm>
          <a:prstGeom prst="straightConnector1">
            <a:avLst/>
          </a:prstGeom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AutoShape 13"/>
          <p:cNvSpPr>
            <a:spLocks/>
          </p:cNvSpPr>
          <p:nvPr/>
        </p:nvSpPr>
        <p:spPr bwMode="auto">
          <a:xfrm>
            <a:off x="9836560" y="4080148"/>
            <a:ext cx="129413" cy="110030"/>
          </a:xfrm>
          <a:custGeom>
            <a:avLst/>
            <a:gdLst>
              <a:gd name="T0" fmla="*/ 2147483647 w 21600"/>
              <a:gd name="T1" fmla="*/ 302033304 h 21600"/>
              <a:gd name="T2" fmla="*/ 2147483647 w 21600"/>
              <a:gd name="T3" fmla="*/ 302033304 h 21600"/>
              <a:gd name="T4" fmla="*/ 2147483647 w 21600"/>
              <a:gd name="T5" fmla="*/ 302033304 h 21600"/>
              <a:gd name="T6" fmla="*/ 2147483647 w 21600"/>
              <a:gd name="T7" fmla="*/ 302033304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07324" marR="0" lvl="0" indent="-107324" algn="l" defTabSz="126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7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98190" algn="l"/>
                <a:tab pos="196381" algn="l"/>
                <a:tab pos="294570" algn="l"/>
                <a:tab pos="392762" algn="l"/>
                <a:tab pos="490952" algn="l"/>
                <a:tab pos="589142" algn="l"/>
                <a:tab pos="687332" algn="l"/>
                <a:tab pos="785522" algn="l"/>
                <a:tab pos="883714" algn="l"/>
                <a:tab pos="981904" algn="l"/>
                <a:tab pos="1080094" algn="l"/>
                <a:tab pos="1178284" algn="l"/>
              </a:tabLst>
              <a:defRPr/>
            </a:pPr>
            <a:endParaRPr kumimoji="0" lang="ru-RU" sz="71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Whitney Book" pitchFamily="50" charset="0"/>
              <a:ea typeface="Whitney Book" charset="0"/>
              <a:cs typeface="Whitney Book" pitchFamily="50" charset="0"/>
              <a:sym typeface="Whitney Book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5295" y="1887608"/>
            <a:ext cx="1321486" cy="422059"/>
          </a:xfrm>
          <a:prstGeom prst="rect">
            <a:avLst/>
          </a:prstGeom>
          <a:ln w="101600">
            <a:solidFill>
              <a:schemeClr val="bg1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3026" y="2671712"/>
            <a:ext cx="1555786" cy="457912"/>
          </a:xfrm>
          <a:prstGeom prst="rect">
            <a:avLst/>
          </a:prstGeom>
          <a:solidFill>
            <a:schemeClr val="tx2">
              <a:lumMod val="20000"/>
              <a:lumOff val="80000"/>
              <a:alpha val="24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</p:pic>
      <p:sp>
        <p:nvSpPr>
          <p:cNvPr id="58" name="Заголовок 6"/>
          <p:cNvSpPr txBox="1">
            <a:spLocks/>
          </p:cNvSpPr>
          <p:nvPr/>
        </p:nvSpPr>
        <p:spPr>
          <a:xfrm>
            <a:off x="594338" y="303597"/>
            <a:ext cx="11457224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521245" rtl="0" eaLnBrk="1" latinLnBrk="0" hangingPunct="1">
              <a:spcBef>
                <a:spcPct val="0"/>
              </a:spcBef>
              <a:buNone/>
              <a:defRPr sz="1400" b="0" i="0" kern="1200" cap="all" baseline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marR="0" lvl="0" defTabSz="1007365" fontAlgn="base" latinLnBrk="0">
              <a:lnSpc>
                <a:spcPct val="100000"/>
              </a:lnSpc>
              <a:spcAft>
                <a:spcPct val="0"/>
              </a:spcAft>
              <a:buClr>
                <a:schemeClr val="tx2"/>
              </a:buClr>
              <a:buSzPct val="100000"/>
              <a:tabLst>
                <a:tab pos="303639" algn="l"/>
              </a:tabLst>
              <a:defRPr/>
            </a:pPr>
            <a:r>
              <a:rPr lang="ru-RU" sz="18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Банк «открытие» и </a:t>
            </a:r>
            <a:r>
              <a:rPr lang="ru-RU" sz="18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ключевые дочерние </a:t>
            </a:r>
            <a:r>
              <a:rPr lang="ru-RU" sz="18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компании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8368201" y="2172622"/>
            <a:ext cx="771905" cy="1548483"/>
            <a:chOff x="7102386" y="2066316"/>
            <a:chExt cx="663929" cy="1707633"/>
          </a:xfrm>
        </p:grpSpPr>
        <p:cxnSp>
          <p:nvCxnSpPr>
            <p:cNvPr id="67" name="Прямая соединительная линия 66"/>
            <p:cNvCxnSpPr/>
            <p:nvPr/>
          </p:nvCxnSpPr>
          <p:spPr>
            <a:xfrm flipH="1" flipV="1">
              <a:off x="7102386" y="2066316"/>
              <a:ext cx="14178" cy="1707633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Прямая соединительная линия 141"/>
            <p:cNvCxnSpPr/>
            <p:nvPr/>
          </p:nvCxnSpPr>
          <p:spPr>
            <a:xfrm>
              <a:off x="7118315" y="2952320"/>
              <a:ext cx="648000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единительная линия 69"/>
            <p:cNvCxnSpPr/>
            <p:nvPr/>
          </p:nvCxnSpPr>
          <p:spPr>
            <a:xfrm flipV="1">
              <a:off x="7105396" y="2076256"/>
              <a:ext cx="647247" cy="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2" name="Прямая соединительная линия 71"/>
          <p:cNvCxnSpPr/>
          <p:nvPr/>
        </p:nvCxnSpPr>
        <p:spPr>
          <a:xfrm flipV="1">
            <a:off x="8368201" y="3717213"/>
            <a:ext cx="75251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>
            <a:cxnSpLocks/>
            <a:stCxn id="53" idx="3"/>
          </p:cNvCxnSpPr>
          <p:nvPr/>
        </p:nvCxnSpPr>
        <p:spPr>
          <a:xfrm flipV="1">
            <a:off x="7850662" y="2976776"/>
            <a:ext cx="534022" cy="6563"/>
          </a:xfrm>
          <a:prstGeom prst="straightConnector1">
            <a:avLst/>
          </a:prstGeom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1" name="Группа 100"/>
          <p:cNvGrpSpPr/>
          <p:nvPr/>
        </p:nvGrpSpPr>
        <p:grpSpPr>
          <a:xfrm>
            <a:off x="5523737" y="4572215"/>
            <a:ext cx="1520177" cy="555441"/>
            <a:chOff x="5234770" y="5558302"/>
            <a:chExt cx="1316378" cy="616675"/>
          </a:xfrm>
        </p:grpSpPr>
        <p:sp>
          <p:nvSpPr>
            <p:cNvPr id="108" name="object 107"/>
            <p:cNvSpPr/>
            <p:nvPr/>
          </p:nvSpPr>
          <p:spPr>
            <a:xfrm>
              <a:off x="5234770" y="5558302"/>
              <a:ext cx="1316378" cy="616675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8010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57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ea typeface="+mn-ea"/>
                <a:cs typeface="Whitney Book" pitchFamily="50" charset="0"/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5381246" y="5786774"/>
              <a:ext cx="831541" cy="2733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0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00" b="1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Whitney Book" pitchFamily="50" charset="0"/>
                  <a:cs typeface="Whitney Book" pitchFamily="50" charset="0"/>
                </a:rPr>
                <a:t>ТОЧКА</a:t>
              </a:r>
              <a:endPara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Whitney Book" pitchFamily="50" charset="0"/>
                <a:ea typeface="+mn-ea"/>
                <a:cs typeface="Whitney Book" pitchFamily="50" charset="0"/>
              </a:endParaRPr>
            </a:p>
          </p:txBody>
        </p:sp>
      </p:grpSp>
      <p:cxnSp>
        <p:nvCxnSpPr>
          <p:cNvPr id="102" name="Прямая соединительная линия 101">
            <a:extLst>
              <a:ext uri="{FF2B5EF4-FFF2-40B4-BE49-F238E27FC236}">
                <a16:creationId xmlns:a16="http://schemas.microsoft.com/office/drawing/2014/main" xmlns="" id="{87689AAD-F4DA-4F43-B74B-271893B7539C}"/>
              </a:ext>
            </a:extLst>
          </p:cNvPr>
          <p:cNvCxnSpPr>
            <a:cxnSpLocks/>
          </p:cNvCxnSpPr>
          <p:nvPr/>
        </p:nvCxnSpPr>
        <p:spPr>
          <a:xfrm flipH="1">
            <a:off x="1206976" y="4302700"/>
            <a:ext cx="9414866" cy="5382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/>
          <p:nvPr/>
        </p:nvCxnSpPr>
        <p:spPr>
          <a:xfrm>
            <a:off x="1206976" y="4302700"/>
            <a:ext cx="2" cy="326448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/>
          <p:nvPr/>
        </p:nvCxnSpPr>
        <p:spPr>
          <a:xfrm flipH="1">
            <a:off x="2882502" y="4305491"/>
            <a:ext cx="0" cy="326448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/>
        </p:nvCxnSpPr>
        <p:spPr>
          <a:xfrm flipH="1">
            <a:off x="4806885" y="4308082"/>
            <a:ext cx="0" cy="326448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 flipH="1">
            <a:off x="6258168" y="4300032"/>
            <a:ext cx="0" cy="326448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0104" y="4699939"/>
            <a:ext cx="1757011" cy="469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1" name="Прямая соединительная линия 80"/>
          <p:cNvCxnSpPr/>
          <p:nvPr/>
        </p:nvCxnSpPr>
        <p:spPr>
          <a:xfrm flipH="1">
            <a:off x="8998357" y="4300032"/>
            <a:ext cx="0" cy="326448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 flipH="1">
            <a:off x="10621842" y="4298700"/>
            <a:ext cx="0" cy="326448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32" y="1253491"/>
            <a:ext cx="2923757" cy="664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4583" y="2678885"/>
            <a:ext cx="3097673" cy="411003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7451" y="4745962"/>
            <a:ext cx="1913461" cy="383764"/>
          </a:xfrm>
          <a:prstGeom prst="rect">
            <a:avLst/>
          </a:prstGeom>
        </p:spPr>
      </p:pic>
      <p:cxnSp>
        <p:nvCxnSpPr>
          <p:cNvPr id="97" name="Прямая соединительная линия 96"/>
          <p:cNvCxnSpPr/>
          <p:nvPr/>
        </p:nvCxnSpPr>
        <p:spPr>
          <a:xfrm>
            <a:off x="2804899" y="2015061"/>
            <a:ext cx="0" cy="968278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/>
          <p:cNvCxnSpPr/>
          <p:nvPr/>
        </p:nvCxnSpPr>
        <p:spPr>
          <a:xfrm>
            <a:off x="2804899" y="2983338"/>
            <a:ext cx="774457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0" name="Graphic 40">
            <a:extLst>
              <a:ext uri="{FF2B5EF4-FFF2-40B4-BE49-F238E27FC236}">
                <a16:creationId xmlns:a16="http://schemas.microsoft.com/office/drawing/2014/main" xmlns="" id="{B0125F9A-C3D2-41C6-A47C-BE5AE6F62C89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361480" y="3551469"/>
            <a:ext cx="1502541" cy="269729"/>
          </a:xfrm>
          <a:prstGeom prst="rect">
            <a:avLst/>
          </a:prstGeom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xmlns="" id="{DDB3FA87-9E1D-4373-8FED-441DBCA54E99}"/>
              </a:ext>
            </a:extLst>
          </p:cNvPr>
          <p:cNvSpPr txBox="1"/>
          <p:nvPr/>
        </p:nvSpPr>
        <p:spPr>
          <a:xfrm>
            <a:off x="10958886" y="3544200"/>
            <a:ext cx="1199974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1011208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218737" lvl="1" indent="-216944" defTabSz="1011208" eaLnBrk="1" latinLnBrk="0" hangingPunct="1">
              <a:buClr>
                <a:srgbClr val="00BBE3"/>
              </a:buClr>
              <a:buSzPct val="125000"/>
              <a:buFont typeface="Arial" panose="020B0604020202020204" pitchFamily="34" charset="0"/>
              <a:buChar char="•"/>
              <a:defRPr sz="1400" baseline="0">
                <a:latin typeface="+mn-lt"/>
              </a:defRPr>
            </a:lvl2pPr>
            <a:lvl3pPr marL="516362" lvl="2" indent="-295833" defTabSz="1011208" eaLnBrk="1" latinLnBrk="0" hangingPunct="1">
              <a:buClr>
                <a:srgbClr val="00BBE3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93862" lvl="3" indent="-175706" defTabSz="1011208" eaLnBrk="1" latinLnBrk="0" hangingPunct="1">
              <a:buClr>
                <a:srgbClr val="00BBE3"/>
              </a:buClr>
              <a:buSzPct val="120000"/>
              <a:buFont typeface="Arial" panose="020B0604020202020204" pitchFamily="34" charset="0"/>
              <a:buChar char="•"/>
              <a:defRPr sz="1400" baseline="0">
                <a:latin typeface="+mn-lt"/>
              </a:defRPr>
            </a:lvl4pPr>
            <a:lvl5pPr marL="846833" lvl="4" indent="-147020" defTabSz="1011208" eaLnBrk="1" latinLnBrk="0" hangingPunct="1">
              <a:buClr>
                <a:srgbClr val="00BBE3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6pPr>
            <a:lvl7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7pPr>
            <a:lvl8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8pPr>
            <a:lvl9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9pPr>
          </a:lstStyle>
          <a:p>
            <a:r>
              <a:rPr lang="ru-RU" sz="900" dirty="0" smtClean="0">
                <a:solidFill>
                  <a:srgbClr val="58595B"/>
                </a:solidFill>
                <a:latin typeface="Whitney Medium" pitchFamily="2" charset="0"/>
                <a:cs typeface="Whitney Medium" pitchFamily="2" charset="0"/>
              </a:rPr>
              <a:t>ПЕНСИОННЫЙ</a:t>
            </a:r>
          </a:p>
          <a:p>
            <a:r>
              <a:rPr lang="ru-RU" sz="900" dirty="0" smtClean="0">
                <a:solidFill>
                  <a:srgbClr val="58595B"/>
                </a:solidFill>
                <a:latin typeface="Whitney Medium" pitchFamily="2" charset="0"/>
                <a:cs typeface="Whitney Medium" pitchFamily="2" charset="0"/>
              </a:rPr>
              <a:t>ФОНД</a:t>
            </a:r>
            <a:endParaRPr lang="ru-RU" sz="900" dirty="0">
              <a:solidFill>
                <a:srgbClr val="58595B"/>
              </a:solidFill>
              <a:latin typeface="Whitney Medium" pitchFamily="2" charset="0"/>
              <a:cs typeface="Whitney Medium" pitchFamily="2" charset="0"/>
            </a:endParaRPr>
          </a:p>
        </p:txBody>
      </p:sp>
      <p:sp>
        <p:nvSpPr>
          <p:cNvPr id="110" name="Rectangle 42">
            <a:extLst>
              <a:ext uri="{FF2B5EF4-FFF2-40B4-BE49-F238E27FC236}">
                <a16:creationId xmlns:a16="http://schemas.microsoft.com/office/drawing/2014/main" xmlns="" id="{801B9546-A90D-4FFD-8B4B-36E72805BC5A}"/>
              </a:ext>
            </a:extLst>
          </p:cNvPr>
          <p:cNvSpPr/>
          <p:nvPr/>
        </p:nvSpPr>
        <p:spPr>
          <a:xfrm>
            <a:off x="10906289" y="3551468"/>
            <a:ext cx="8308" cy="232853"/>
          </a:xfrm>
          <a:prstGeom prst="rect">
            <a:avLst/>
          </a:prstGeom>
          <a:solidFill>
            <a:srgbClr val="58595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Whitney Medium" pitchFamily="2" charset="0"/>
              <a:cs typeface="Whitney Medium" pitchFamily="2" charset="0"/>
            </a:endParaRP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701" y="4737326"/>
            <a:ext cx="1040455" cy="333878"/>
          </a:xfrm>
          <a:prstGeom prst="rect">
            <a:avLst/>
          </a:prstGeom>
        </p:spPr>
      </p:pic>
      <p:pic>
        <p:nvPicPr>
          <p:cNvPr id="58372" name="Picture 4" descr="http://net.open.ru/common/img/uploaded/intranet/img/logo/open_broker_rus_v2017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113" y="4618397"/>
            <a:ext cx="1857100" cy="829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9" name="Прямая соединительная линия 58"/>
          <p:cNvCxnSpPr/>
          <p:nvPr/>
        </p:nvCxnSpPr>
        <p:spPr>
          <a:xfrm flipH="1">
            <a:off x="7595915" y="4314992"/>
            <a:ext cx="0" cy="326448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9" name="Рисунок 48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6541" y="873268"/>
            <a:ext cx="843248" cy="576609"/>
          </a:xfrm>
          <a:prstGeom prst="rect">
            <a:avLst/>
          </a:prstGeom>
        </p:spPr>
      </p:pic>
      <p:sp>
        <p:nvSpPr>
          <p:cNvPr id="50" name="Прямоугольник 49"/>
          <p:cNvSpPr/>
          <p:nvPr/>
        </p:nvSpPr>
        <p:spPr>
          <a:xfrm>
            <a:off x="7962898" y="805626"/>
            <a:ext cx="25891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Активы Группы</a:t>
            </a:r>
            <a:r>
              <a:rPr lang="en-US" sz="1800" b="1" dirty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 </a:t>
            </a:r>
            <a:r>
              <a:rPr lang="ru-RU" sz="1800" b="1" dirty="0" smtClean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БОЛЕЕ</a:t>
            </a:r>
            <a:endParaRPr lang="ru-RU" sz="1800" b="1" dirty="0">
              <a:solidFill>
                <a:srgbClr val="00BAE3"/>
              </a:solidFill>
              <a:latin typeface="Whitney Book" pitchFamily="50" charset="0"/>
              <a:ea typeface="Whitney Книжный" charset="0"/>
              <a:cs typeface="Whitney Book" pitchFamily="50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7992393" y="1132413"/>
            <a:ext cx="22192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2</a:t>
            </a:r>
            <a:r>
              <a:rPr lang="ru-RU" sz="1800" b="1" dirty="0" smtClean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,</a:t>
            </a:r>
            <a:r>
              <a:rPr lang="en-US" sz="1800" b="1" dirty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6</a:t>
            </a:r>
            <a:r>
              <a:rPr lang="en-US" sz="1800" b="1" dirty="0" smtClean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 </a:t>
            </a:r>
            <a:r>
              <a:rPr lang="ru-RU" sz="1800" b="1" dirty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трлн рублей</a:t>
            </a: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xmlns="" id="{CA7E1482-A996-014B-96D6-9425CE836533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2172" y="3079567"/>
            <a:ext cx="1503786" cy="208775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6373819" y="3149127"/>
            <a:ext cx="1146225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551"/>
              </a:spcBef>
              <a:spcAft>
                <a:spcPts val="551"/>
              </a:spcAft>
              <a:defRPr/>
            </a:pP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С 01.01.2019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Whitney Book" pitchFamily="50" charset="0"/>
              <a:ea typeface="Whitney Книжный" charset="0"/>
              <a:cs typeface="Whitney Book" pitchFamily="50" charset="0"/>
            </a:endParaRPr>
          </a:p>
        </p:txBody>
      </p:sp>
      <p:sp>
        <p:nvSpPr>
          <p:cNvPr id="53" name="Прямоугольник: скругленные углы 109">
            <a:extLst>
              <a:ext uri="{FF2B5EF4-FFF2-40B4-BE49-F238E27FC236}">
                <a16:creationId xmlns:a16="http://schemas.microsoft.com/office/drawing/2014/main" xmlns="" id="{1176D43B-F52B-4051-96EB-8E8293210E27}"/>
              </a:ext>
            </a:extLst>
          </p:cNvPr>
          <p:cNvSpPr/>
          <p:nvPr/>
        </p:nvSpPr>
        <p:spPr>
          <a:xfrm>
            <a:off x="3579356" y="2628965"/>
            <a:ext cx="4271306" cy="708747"/>
          </a:xfrm>
          <a:prstGeom prst="roundRect">
            <a:avLst/>
          </a:prstGeom>
          <a:noFill/>
          <a:ln w="19050">
            <a:solidFill>
              <a:srgbClr val="00BAE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TextBox 55"/>
          <p:cNvSpPr txBox="1"/>
          <p:nvPr/>
        </p:nvSpPr>
        <p:spPr>
          <a:xfrm>
            <a:off x="3994583" y="3149127"/>
            <a:ext cx="85185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551"/>
              </a:spcBef>
              <a:spcAft>
                <a:spcPts val="551"/>
              </a:spcAft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включая</a:t>
            </a:r>
          </a:p>
        </p:txBody>
      </p:sp>
    </p:spTree>
    <p:extLst>
      <p:ext uri="{BB962C8B-B14F-4D97-AF65-F5344CB8AC3E}">
        <p14:creationId xmlns:p14="http://schemas.microsoft.com/office/powerpoint/2010/main" val="3838081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Прямоугольник 84"/>
          <p:cNvSpPr/>
          <p:nvPr/>
        </p:nvSpPr>
        <p:spPr>
          <a:xfrm>
            <a:off x="6562582" y="1579"/>
            <a:ext cx="5869431" cy="685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6562580" y="3262591"/>
            <a:ext cx="5864369" cy="359540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20359" y="3271908"/>
            <a:ext cx="6542222" cy="359540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0" name="Заголовок 6"/>
          <p:cNvSpPr>
            <a:spLocks noGrp="1"/>
          </p:cNvSpPr>
          <p:nvPr>
            <p:ph type="title"/>
          </p:nvPr>
        </p:nvSpPr>
        <p:spPr>
          <a:xfrm>
            <a:off x="594338" y="286678"/>
            <a:ext cx="7115306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Объединенный Банк «ОТКРЫТИЕ»</a:t>
            </a:r>
          </a:p>
        </p:txBody>
      </p:sp>
      <p:sp>
        <p:nvSpPr>
          <p:cNvPr id="50" name="TextBox 9">
            <a:extLst>
              <a:ext uri="{FF2B5EF4-FFF2-40B4-BE49-F238E27FC236}">
                <a16:creationId xmlns:a16="http://schemas.microsoft.com/office/drawing/2014/main" xmlns="" id="{35670AF0-D742-2D43-8EF4-ECE7CD4D9D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991" y="966014"/>
            <a:ext cx="6683797" cy="2156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7596" tIns="43801" rIns="87596" bIns="43801">
            <a:spAutoFit/>
          </a:bodyPr>
          <a:lstStyle>
            <a:lvl1pPr>
              <a:spcBef>
                <a:spcPts val="4200"/>
              </a:spcBef>
              <a:defRPr kumimoji="1" sz="5000">
                <a:solidFill>
                  <a:srgbClr val="000000"/>
                </a:solidFill>
                <a:latin typeface="Helvetica Light" pitchFamily="2" charset="0"/>
                <a:ea typeface="Arial" panose="020B0604020202020204" pitchFamily="34" charset="0"/>
                <a:cs typeface="Helvetica Light" pitchFamily="2" charset="0"/>
                <a:sym typeface="Helvetica Light" pitchFamily="2" charset="0"/>
              </a:defRPr>
            </a:lvl1pPr>
            <a:lvl2pPr marL="742950" indent="-285750">
              <a:spcBef>
                <a:spcPts val="4200"/>
              </a:spcBef>
              <a:defRPr kumimoji="1" sz="5000">
                <a:solidFill>
                  <a:srgbClr val="000000"/>
                </a:solidFill>
                <a:latin typeface="Helvetica Light" pitchFamily="2" charset="0"/>
                <a:ea typeface="Helvetica Light" pitchFamily="2" charset="0"/>
                <a:cs typeface="Helvetica Light" pitchFamily="2" charset="0"/>
                <a:sym typeface="Helvetica Light" pitchFamily="2" charset="0"/>
              </a:defRPr>
            </a:lvl2pPr>
            <a:lvl3pPr marL="1143000" indent="-228600">
              <a:spcBef>
                <a:spcPts val="4200"/>
              </a:spcBef>
              <a:defRPr kumimoji="1" sz="5000">
                <a:solidFill>
                  <a:srgbClr val="000000"/>
                </a:solidFill>
                <a:latin typeface="Helvetica Light" pitchFamily="2" charset="0"/>
                <a:ea typeface="Helvetica Light" pitchFamily="2" charset="0"/>
                <a:cs typeface="Helvetica Light" pitchFamily="2" charset="0"/>
                <a:sym typeface="Helvetica Light" pitchFamily="2" charset="0"/>
              </a:defRPr>
            </a:lvl3pPr>
            <a:lvl4pPr marL="1600200" indent="-228600">
              <a:spcBef>
                <a:spcPts val="4200"/>
              </a:spcBef>
              <a:defRPr kumimoji="1" sz="5000">
                <a:solidFill>
                  <a:srgbClr val="000000"/>
                </a:solidFill>
                <a:latin typeface="Helvetica Light" pitchFamily="2" charset="0"/>
                <a:ea typeface="Helvetica Light" pitchFamily="2" charset="0"/>
                <a:cs typeface="Helvetica Light" pitchFamily="2" charset="0"/>
                <a:sym typeface="Helvetica Light" pitchFamily="2" charset="0"/>
              </a:defRPr>
            </a:lvl4pPr>
            <a:lvl5pPr marL="2057400" indent="-228600">
              <a:spcBef>
                <a:spcPts val="4200"/>
              </a:spcBef>
              <a:defRPr kumimoji="1" sz="5000">
                <a:solidFill>
                  <a:srgbClr val="000000"/>
                </a:solidFill>
                <a:latin typeface="Helvetica Light" pitchFamily="2" charset="0"/>
                <a:ea typeface="Helvetica Light" pitchFamily="2" charset="0"/>
                <a:cs typeface="Helvetica Light" pitchFamily="2" charset="0"/>
                <a:sym typeface="Helvetica Light" pitchFamily="2" charset="0"/>
              </a:defRPr>
            </a:lvl5pPr>
            <a:lvl6pPr marL="2514600" indent="-228600" defTabSz="584200" eaLnBrk="0" fontAlgn="base" hangingPunct="0">
              <a:spcBef>
                <a:spcPts val="4200"/>
              </a:spcBef>
              <a:spcAft>
                <a:spcPct val="0"/>
              </a:spcAft>
              <a:defRPr kumimoji="1" sz="5000">
                <a:solidFill>
                  <a:srgbClr val="000000"/>
                </a:solidFill>
                <a:latin typeface="Helvetica Light" pitchFamily="2" charset="0"/>
                <a:ea typeface="Helvetica Light" pitchFamily="2" charset="0"/>
                <a:cs typeface="Helvetica Light" pitchFamily="2" charset="0"/>
                <a:sym typeface="Helvetica Light" pitchFamily="2" charset="0"/>
              </a:defRPr>
            </a:lvl6pPr>
            <a:lvl7pPr marL="2971800" indent="-228600" defTabSz="584200" eaLnBrk="0" fontAlgn="base" hangingPunct="0">
              <a:spcBef>
                <a:spcPts val="4200"/>
              </a:spcBef>
              <a:spcAft>
                <a:spcPct val="0"/>
              </a:spcAft>
              <a:defRPr kumimoji="1" sz="5000">
                <a:solidFill>
                  <a:srgbClr val="000000"/>
                </a:solidFill>
                <a:latin typeface="Helvetica Light" pitchFamily="2" charset="0"/>
                <a:ea typeface="Helvetica Light" pitchFamily="2" charset="0"/>
                <a:cs typeface="Helvetica Light" pitchFamily="2" charset="0"/>
                <a:sym typeface="Helvetica Light" pitchFamily="2" charset="0"/>
              </a:defRPr>
            </a:lvl7pPr>
            <a:lvl8pPr marL="3429000" indent="-228600" defTabSz="584200" eaLnBrk="0" fontAlgn="base" hangingPunct="0">
              <a:spcBef>
                <a:spcPts val="4200"/>
              </a:spcBef>
              <a:spcAft>
                <a:spcPct val="0"/>
              </a:spcAft>
              <a:defRPr kumimoji="1" sz="5000">
                <a:solidFill>
                  <a:srgbClr val="000000"/>
                </a:solidFill>
                <a:latin typeface="Helvetica Light" pitchFamily="2" charset="0"/>
                <a:ea typeface="Helvetica Light" pitchFamily="2" charset="0"/>
                <a:cs typeface="Helvetica Light" pitchFamily="2" charset="0"/>
                <a:sym typeface="Helvetica Light" pitchFamily="2" charset="0"/>
              </a:defRPr>
            </a:lvl8pPr>
            <a:lvl9pPr marL="3886200" indent="-228600" defTabSz="584200" eaLnBrk="0" fontAlgn="base" hangingPunct="0">
              <a:spcBef>
                <a:spcPts val="4200"/>
              </a:spcBef>
              <a:spcAft>
                <a:spcPct val="0"/>
              </a:spcAft>
              <a:defRPr kumimoji="1" sz="5000">
                <a:solidFill>
                  <a:srgbClr val="000000"/>
                </a:solidFill>
                <a:latin typeface="Helvetica Light" pitchFamily="2" charset="0"/>
                <a:ea typeface="Helvetica Light" pitchFamily="2" charset="0"/>
                <a:cs typeface="Helvetica Light" pitchFamily="2" charset="0"/>
                <a:sym typeface="Helvetica Light" pitchFamily="2" charset="0"/>
              </a:defRPr>
            </a:lvl9pPr>
          </a:lstStyle>
          <a:p>
            <a:pPr marL="352425" marR="513715" indent="-339725" defTabSz="914400">
              <a:lnSpc>
                <a:spcPct val="120000"/>
              </a:lnSpc>
              <a:spcBef>
                <a:spcPts val="0"/>
              </a:spcBef>
              <a:buClr>
                <a:srgbClr val="00B9E2"/>
              </a:buClr>
              <a:buFont typeface="Courier New" panose="02070309020205020404" pitchFamily="49" charset="0"/>
              <a:buChar char="o"/>
              <a:tabLst>
                <a:tab pos="352425" algn="l"/>
              </a:tabLst>
              <a:defRPr/>
            </a:pP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ea typeface="+mn-ea"/>
                <a:cs typeface="Whitney Book" pitchFamily="50" charset="0"/>
              </a:rPr>
              <a:t>Системно значимый банк, 100% акционером которого является </a:t>
            </a: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cs typeface="Whitney Book" pitchFamily="50" charset="0"/>
              </a:rPr>
              <a:t>Банк России</a:t>
            </a:r>
            <a:endParaRPr lang="ru-RU" sz="1600" dirty="0">
              <a:solidFill>
                <a:schemeClr val="tx1">
                  <a:lumMod val="75000"/>
                </a:schemeClr>
              </a:solidFill>
              <a:latin typeface="Whitney Book" pitchFamily="50" charset="0"/>
              <a:cs typeface="Whitney Book" pitchFamily="50" charset="0"/>
            </a:endParaRPr>
          </a:p>
          <a:p>
            <a:pPr marL="352425" marR="513715" indent="-339725" defTabSz="914400">
              <a:lnSpc>
                <a:spcPct val="120000"/>
              </a:lnSpc>
              <a:spcBef>
                <a:spcPts val="0"/>
              </a:spcBef>
              <a:buClr>
                <a:srgbClr val="00B9E2"/>
              </a:buClr>
              <a:buFont typeface="Courier New" panose="02070309020205020404" pitchFamily="49" charset="0"/>
              <a:buChar char="o"/>
              <a:tabLst>
                <a:tab pos="352425" algn="l"/>
              </a:tabLst>
              <a:defRPr/>
            </a:pPr>
            <a:r>
              <a:rPr lang="ru-RU" altLang="ru-RU" sz="1600" b="1" dirty="0" smtClean="0">
                <a:solidFill>
                  <a:srgbClr val="00C1EE"/>
                </a:solidFill>
                <a:latin typeface="Whitney Book" pitchFamily="50" charset="0"/>
                <a:ea typeface="+mn-ea"/>
                <a:cs typeface="Whitney Book" pitchFamily="50" charset="0"/>
              </a:rPr>
              <a:t>5-й банк </a:t>
            </a:r>
            <a:r>
              <a:rPr lang="ru-RU" altLang="ru-RU" sz="1600" dirty="0" smtClean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ea typeface="+mn-ea"/>
                <a:cs typeface="Whitney Book" pitchFamily="50" charset="0"/>
              </a:rPr>
              <a:t>по капиталу </a:t>
            </a:r>
          </a:p>
          <a:p>
            <a:pPr marL="352425" marR="513715" indent="-339725" defTabSz="914400">
              <a:lnSpc>
                <a:spcPct val="120000"/>
              </a:lnSpc>
              <a:spcBef>
                <a:spcPts val="0"/>
              </a:spcBef>
              <a:buClr>
                <a:srgbClr val="00B9E2"/>
              </a:buClr>
              <a:buFont typeface="Courier New" panose="02070309020205020404" pitchFamily="49" charset="0"/>
              <a:buChar char="o"/>
              <a:tabLst>
                <a:tab pos="352425" algn="l"/>
              </a:tabLst>
              <a:defRPr/>
            </a:pPr>
            <a:r>
              <a:rPr lang="ru-RU" altLang="ru-RU" sz="1600" b="1" dirty="0" smtClean="0">
                <a:solidFill>
                  <a:srgbClr val="00C1EE"/>
                </a:solidFill>
                <a:latin typeface="Whitney Book" pitchFamily="50" charset="0"/>
                <a:ea typeface="+mn-ea"/>
                <a:cs typeface="Whitney Book" pitchFamily="50" charset="0"/>
              </a:rPr>
              <a:t>6-</a:t>
            </a:r>
            <a:r>
              <a:rPr lang="ru-RU" altLang="ru-RU" sz="1600" b="1" dirty="0" smtClean="0">
                <a:solidFill>
                  <a:srgbClr val="00C1EE"/>
                </a:solidFill>
                <a:latin typeface="Whitney Book" pitchFamily="50" charset="0"/>
                <a:cs typeface="Whitney Book" pitchFamily="50" charset="0"/>
              </a:rPr>
              <a:t>й </a:t>
            </a:r>
            <a:r>
              <a:rPr lang="ru-RU" altLang="ru-RU" sz="1600" b="1" dirty="0">
                <a:solidFill>
                  <a:srgbClr val="00C1EE"/>
                </a:solidFill>
                <a:latin typeface="Whitney Book" pitchFamily="50" charset="0"/>
                <a:cs typeface="Whitney Book" pitchFamily="50" charset="0"/>
              </a:rPr>
              <a:t>банк </a:t>
            </a:r>
            <a:r>
              <a:rPr lang="ru-RU" altLang="ru-RU" sz="1600" dirty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cs typeface="Whitney Book" pitchFamily="50" charset="0"/>
              </a:rPr>
              <a:t>по размеру </a:t>
            </a:r>
            <a:r>
              <a:rPr lang="ru-RU" altLang="ru-RU" sz="1600" dirty="0" smtClean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cs typeface="Whitney Book" pitchFamily="50" charset="0"/>
              </a:rPr>
              <a:t>активов </a:t>
            </a:r>
            <a:endParaRPr lang="ru-RU" altLang="ru-RU" sz="1600" dirty="0">
              <a:solidFill>
                <a:schemeClr val="tx1">
                  <a:lumMod val="75000"/>
                </a:schemeClr>
              </a:solidFill>
              <a:latin typeface="Whitney Book" pitchFamily="50" charset="0"/>
              <a:cs typeface="Whitney Book" pitchFamily="50" charset="0"/>
            </a:endParaRPr>
          </a:p>
          <a:p>
            <a:pPr marL="352425" marR="513715" indent="-339725" defTabSz="914400">
              <a:lnSpc>
                <a:spcPct val="120000"/>
              </a:lnSpc>
              <a:spcBef>
                <a:spcPts val="0"/>
              </a:spcBef>
              <a:buClr>
                <a:srgbClr val="00B9E2"/>
              </a:buClr>
              <a:buFont typeface="Courier New" panose="02070309020205020404" pitchFamily="49" charset="0"/>
              <a:buChar char="o"/>
              <a:tabLst>
                <a:tab pos="352425" algn="l"/>
              </a:tabLst>
              <a:defRPr/>
            </a:pPr>
            <a:r>
              <a:rPr lang="en-US" altLang="ru-RU" sz="1600" b="1" dirty="0" smtClean="0">
                <a:solidFill>
                  <a:srgbClr val="00C1EE"/>
                </a:solidFill>
                <a:latin typeface="Whitney Book" pitchFamily="50" charset="0"/>
                <a:ea typeface="+mn-ea"/>
                <a:cs typeface="Whitney Book" pitchFamily="50" charset="0"/>
              </a:rPr>
              <a:t>5</a:t>
            </a:r>
            <a:r>
              <a:rPr lang="ru-RU" altLang="ru-RU" sz="1600" b="1" dirty="0" smtClean="0">
                <a:solidFill>
                  <a:srgbClr val="00C1EE"/>
                </a:solidFill>
                <a:latin typeface="Whitney Book" pitchFamily="50" charset="0"/>
                <a:ea typeface="+mn-ea"/>
                <a:cs typeface="Whitney Book" pitchFamily="50" charset="0"/>
              </a:rPr>
              <a:t>-й банк </a:t>
            </a:r>
            <a:r>
              <a:rPr lang="ru-RU" altLang="ru-RU" sz="1600" dirty="0" smtClean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ea typeface="+mn-ea"/>
                <a:cs typeface="Whitney Book" pitchFamily="50" charset="0"/>
              </a:rPr>
              <a:t>по размеру </a:t>
            </a:r>
            <a:r>
              <a:rPr lang="ru-RU" altLang="ru-RU" sz="1600" dirty="0" smtClean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ea typeface="+mn-ea"/>
                <a:cs typeface="Whitney Book" pitchFamily="50" charset="0"/>
              </a:rPr>
              <a:t>сети (750 отделений, 72 региона)</a:t>
            </a:r>
            <a:endParaRPr lang="ru-RU" altLang="ru-RU" sz="1600" dirty="0" smtClean="0">
              <a:solidFill>
                <a:schemeClr val="tx1">
                  <a:lumMod val="75000"/>
                </a:schemeClr>
              </a:solidFill>
              <a:latin typeface="Whitney Book" pitchFamily="50" charset="0"/>
              <a:ea typeface="+mn-ea"/>
              <a:cs typeface="Whitney Book" pitchFamily="50" charset="0"/>
            </a:endParaRPr>
          </a:p>
          <a:p>
            <a:pPr marL="352425" marR="513715" indent="-339725" defTabSz="914400">
              <a:lnSpc>
                <a:spcPct val="120000"/>
              </a:lnSpc>
              <a:spcBef>
                <a:spcPts val="0"/>
              </a:spcBef>
              <a:buClr>
                <a:srgbClr val="00B9E2"/>
              </a:buClr>
              <a:buFont typeface="Courier New" panose="02070309020205020404" pitchFamily="49" charset="0"/>
              <a:buChar char="o"/>
              <a:tabLst>
                <a:tab pos="352425" algn="l"/>
              </a:tabLst>
              <a:defRPr/>
            </a:pPr>
            <a:r>
              <a:rPr lang="ru-RU" altLang="ru-RU" sz="1600" dirty="0" smtClean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ea typeface="+mn-ea"/>
                <a:cs typeface="Whitney Book" pitchFamily="50" charset="0"/>
              </a:rPr>
              <a:t>Современный технологичный Банк с первоклассным клиентским опытом</a:t>
            </a:r>
          </a:p>
        </p:txBody>
      </p:sp>
      <p:grpSp>
        <p:nvGrpSpPr>
          <p:cNvPr id="58" name="Группа 57"/>
          <p:cNvGrpSpPr/>
          <p:nvPr/>
        </p:nvGrpSpPr>
        <p:grpSpPr>
          <a:xfrm>
            <a:off x="10677802" y="1405986"/>
            <a:ext cx="1503989" cy="575214"/>
            <a:chOff x="493818" y="2435742"/>
            <a:chExt cx="900000" cy="634333"/>
          </a:xfrm>
        </p:grpSpPr>
        <p:sp>
          <p:nvSpPr>
            <p:cNvPr id="62" name="TextBox 61"/>
            <p:cNvSpPr txBox="1"/>
            <p:nvPr/>
          </p:nvSpPr>
          <p:spPr>
            <a:xfrm>
              <a:off x="504450" y="2730665"/>
              <a:ext cx="759574" cy="33941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rgbClr val="7F7F7F"/>
                  </a:solidFill>
                  <a:latin typeface="Whitney Semibold" pitchFamily="50" charset="0"/>
                  <a:cs typeface="Whitney Semibold" pitchFamily="50" charset="0"/>
                </a:defRPr>
              </a:lvl1pPr>
            </a:lstStyle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Whitney Book" pitchFamily="50" charset="0"/>
                  <a:cs typeface="Whitney Book" pitchFamily="50" charset="0"/>
                </a:rPr>
                <a:t>А+(</a:t>
              </a:r>
              <a: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Whitney Book" pitchFamily="50" charset="0"/>
                  <a:cs typeface="Whitney Book" pitchFamily="50" charset="0"/>
                </a:rPr>
                <a:t>RU</a:t>
              </a:r>
              <a:r>
                <a:rPr kumimoji="0" lang="ru-R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Whitney Book" pitchFamily="50" charset="0"/>
                  <a:cs typeface="Whitney Book" pitchFamily="50" charset="0"/>
                </a:rPr>
                <a:t>)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63" name="TextBox 35"/>
            <p:cNvSpPr txBox="1">
              <a:spLocks noChangeArrowheads="1"/>
            </p:cNvSpPr>
            <p:nvPr/>
          </p:nvSpPr>
          <p:spPr bwMode="auto">
            <a:xfrm>
              <a:off x="493818" y="2435742"/>
              <a:ext cx="900000" cy="2715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dirty="0" smtClean="0">
                  <a:solidFill>
                    <a:srgbClr val="00BBE4"/>
                  </a:solidFill>
                  <a:latin typeface="Whitney Book" pitchFamily="50" charset="0"/>
                  <a:cs typeface="Whitney Book" pitchFamily="50" charset="0"/>
                </a:rPr>
                <a:t>АКРА</a:t>
              </a:r>
              <a:endParaRPr lang="ru-RU" sz="1600" b="1" dirty="0">
                <a:solidFill>
                  <a:srgbClr val="00BBE4"/>
                </a:solidFill>
                <a:latin typeface="Whitney Book" pitchFamily="50" charset="0"/>
                <a:cs typeface="Whitney Book" pitchFamily="50" charset="0"/>
              </a:endParaRPr>
            </a:p>
          </p:txBody>
        </p:sp>
      </p:grpSp>
      <p:sp>
        <p:nvSpPr>
          <p:cNvPr id="59" name="TextBox 35"/>
          <p:cNvSpPr txBox="1">
            <a:spLocks noChangeArrowheads="1"/>
          </p:cNvSpPr>
          <p:nvPr/>
        </p:nvSpPr>
        <p:spPr bwMode="auto">
          <a:xfrm>
            <a:off x="10677802" y="2061443"/>
            <a:ext cx="2376775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l" defTabSz="5214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rPr>
              <a:t>Прогноз</a:t>
            </a:r>
          </a:p>
          <a:p>
            <a:pPr marL="0" marR="0" lvl="0" indent="0" algn="l" defTabSz="5214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BBE4"/>
                </a:solidFill>
                <a:latin typeface="Whitney Book" pitchFamily="50" charset="0"/>
                <a:cs typeface="Whitney Book" pitchFamily="50" charset="0"/>
              </a:rPr>
              <a:t>С</a:t>
            </a:r>
            <a:r>
              <a:rPr kumimoji="0" lang="ru-RU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BBE4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rPr>
              <a:t>табильный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rPr>
              <a:t>,</a:t>
            </a:r>
          </a:p>
          <a:p>
            <a:pPr marL="0" marR="0" lvl="0" indent="0" algn="l" defTabSz="5214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дата присвоения:</a:t>
            </a:r>
          </a:p>
          <a:p>
            <a:pPr marL="0" marR="0" lvl="0" indent="0" algn="l" defTabSz="5214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rPr>
              <a:t>30.05.2018</a:t>
            </a:r>
          </a:p>
          <a:p>
            <a:pPr marL="0" marR="0" lvl="0" indent="0" algn="l" defTabSz="5214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Whitney Book" pitchFamily="50" charset="0"/>
              <a:cs typeface="Whitney Book" pitchFamily="50" charset="0"/>
            </a:endParaRPr>
          </a:p>
          <a:p>
            <a:pPr marL="0" marR="0" lvl="0" indent="0" algn="l" defTabSz="5214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Whitney Book" pitchFamily="50" charset="0"/>
              <a:cs typeface="Whitney Book" pitchFamily="50" charset="0"/>
            </a:endParaRPr>
          </a:p>
        </p:txBody>
      </p:sp>
      <p:grpSp>
        <p:nvGrpSpPr>
          <p:cNvPr id="68" name="Группа 67"/>
          <p:cNvGrpSpPr/>
          <p:nvPr/>
        </p:nvGrpSpPr>
        <p:grpSpPr>
          <a:xfrm>
            <a:off x="6829521" y="1423664"/>
            <a:ext cx="1982280" cy="547735"/>
            <a:chOff x="500045" y="3184388"/>
            <a:chExt cx="1704994" cy="604030"/>
          </a:xfrm>
        </p:grpSpPr>
        <p:sp>
          <p:nvSpPr>
            <p:cNvPr id="70" name="TextBox 69"/>
            <p:cNvSpPr txBox="1"/>
            <p:nvPr/>
          </p:nvSpPr>
          <p:spPr>
            <a:xfrm>
              <a:off x="500045" y="3449008"/>
              <a:ext cx="450000" cy="33941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>
                <a:defRPr sz="1600">
                  <a:solidFill>
                    <a:srgbClr val="7F7F7F"/>
                  </a:solidFill>
                  <a:latin typeface="Whitney Semibold" pitchFamily="50" charset="0"/>
                  <a:cs typeface="Whitney Semibold" pitchFamily="50" charset="0"/>
                </a:defRPr>
              </a:lvl1pPr>
            </a:lstStyle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Whitney Book" pitchFamily="50" charset="0"/>
                  <a:cs typeface="Whitney Book" pitchFamily="50" charset="0"/>
                </a:rPr>
                <a:t>B</a:t>
              </a:r>
              <a:r>
                <a:rPr kumimoji="0" lang="ru-R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Whitney Book" pitchFamily="50" charset="0"/>
                  <a:cs typeface="Whitney Book" pitchFamily="50" charset="0"/>
                </a:rPr>
                <a:t>а2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71" name="Прямоугольник 44"/>
            <p:cNvSpPr>
              <a:spLocks noChangeArrowheads="1"/>
            </p:cNvSpPr>
            <p:nvPr/>
          </p:nvSpPr>
          <p:spPr bwMode="auto">
            <a:xfrm>
              <a:off x="509971" y="3184388"/>
              <a:ext cx="1695068" cy="2715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lvl="0" defTabSz="521437">
                <a:defRPr/>
              </a:pPr>
              <a:r>
                <a:rPr lang="ru-RU" sz="1600" b="1" dirty="0" err="1" smtClean="0">
                  <a:solidFill>
                    <a:srgbClr val="00BBE4"/>
                  </a:solidFill>
                  <a:latin typeface="Whitney Book" pitchFamily="50" charset="0"/>
                  <a:cs typeface="Whitney Book" pitchFamily="50" charset="0"/>
                </a:rPr>
                <a:t>Moody’s</a:t>
              </a:r>
              <a:endParaRPr lang="ru-RU" sz="1600" b="1" dirty="0">
                <a:solidFill>
                  <a:srgbClr val="00BBE4"/>
                </a:solidFill>
                <a:latin typeface="Whitney Book" pitchFamily="50" charset="0"/>
                <a:cs typeface="Whitney Book" pitchFamily="50" charset="0"/>
              </a:endParaRPr>
            </a:p>
          </p:txBody>
        </p:sp>
      </p:grpSp>
      <p:sp>
        <p:nvSpPr>
          <p:cNvPr id="69" name="TextBox 35"/>
          <p:cNvSpPr txBox="1">
            <a:spLocks noChangeArrowheads="1"/>
          </p:cNvSpPr>
          <p:nvPr/>
        </p:nvSpPr>
        <p:spPr bwMode="auto">
          <a:xfrm>
            <a:off x="6824947" y="2047579"/>
            <a:ext cx="2226063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1400" dirty="0" smtClean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Прогноз</a:t>
            </a:r>
          </a:p>
          <a:p>
            <a:pPr lvl="0">
              <a:defRPr/>
            </a:pPr>
            <a:r>
              <a:rPr lang="ru-RU" sz="1400" b="1" dirty="0" smtClean="0">
                <a:solidFill>
                  <a:srgbClr val="00BBE4"/>
                </a:solidFill>
                <a:latin typeface="Whitney Book" pitchFamily="50" charset="0"/>
                <a:cs typeface="Whitney Book" pitchFamily="50" charset="0"/>
              </a:rPr>
              <a:t>Стабильный</a:t>
            </a:r>
            <a:endParaRPr lang="ru-RU" sz="1400" dirty="0">
              <a:solidFill>
                <a:srgbClr val="00BBE4"/>
              </a:solidFill>
              <a:latin typeface="Whitney Book" pitchFamily="50" charset="0"/>
              <a:cs typeface="Whitney Book" pitchFamily="50" charset="0"/>
            </a:endParaRPr>
          </a:p>
          <a:p>
            <a:pPr lvl="0">
              <a:defRPr/>
            </a:pPr>
            <a:r>
              <a:rPr lang="ru-RU" sz="1400" dirty="0" smtClean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дата </a:t>
            </a:r>
            <a:r>
              <a:rPr lang="ru-RU" sz="1400" dirty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присвоения</a:t>
            </a:r>
            <a:r>
              <a:rPr lang="ru-RU" sz="1400" dirty="0" smtClean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: </a:t>
            </a:r>
            <a:r>
              <a:rPr lang="en-US" sz="1400" dirty="0" smtClean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20</a:t>
            </a:r>
            <a:r>
              <a:rPr lang="ru-RU" sz="1400" dirty="0" smtClean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.02.2019</a:t>
            </a:r>
            <a:endParaRPr lang="ru-RU" sz="1400" dirty="0">
              <a:solidFill>
                <a:srgbClr val="58595B"/>
              </a:solidFill>
              <a:latin typeface="Whitney Book" pitchFamily="50" charset="0"/>
              <a:cs typeface="Whitney Book" pitchFamily="50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8703697" y="1402502"/>
            <a:ext cx="1430254" cy="553240"/>
            <a:chOff x="6308522" y="2228289"/>
            <a:chExt cx="904398" cy="610101"/>
          </a:xfrm>
        </p:grpSpPr>
        <p:sp>
          <p:nvSpPr>
            <p:cNvPr id="72" name="TextBox 71"/>
            <p:cNvSpPr txBox="1"/>
            <p:nvPr/>
          </p:nvSpPr>
          <p:spPr>
            <a:xfrm>
              <a:off x="6308522" y="2498980"/>
              <a:ext cx="759574" cy="33941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rgbClr val="7F7F7F"/>
                  </a:solidFill>
                  <a:latin typeface="Whitney Semibold" pitchFamily="50" charset="0"/>
                  <a:cs typeface="Whitney Semibold" pitchFamily="50" charset="0"/>
                </a:defRPr>
              </a:lvl1pPr>
            </a:lstStyle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Whitney Book" pitchFamily="50" charset="0"/>
                  <a:cs typeface="Whitney Book" pitchFamily="50" charset="0"/>
                </a:rPr>
                <a:t>ru</a:t>
              </a:r>
              <a:r>
                <a:rPr kumimoji="0" lang="ru-R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Whitney Book" pitchFamily="50" charset="0"/>
                  <a:cs typeface="Whitney Book" pitchFamily="50" charset="0"/>
                </a:rPr>
                <a:t>АА-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86" name="TextBox 35"/>
            <p:cNvSpPr txBox="1">
              <a:spLocks noChangeArrowheads="1"/>
            </p:cNvSpPr>
            <p:nvPr/>
          </p:nvSpPr>
          <p:spPr bwMode="auto">
            <a:xfrm>
              <a:off x="6312920" y="2228289"/>
              <a:ext cx="900000" cy="2715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dirty="0" smtClean="0">
                  <a:solidFill>
                    <a:srgbClr val="00BBE4"/>
                  </a:solidFill>
                  <a:latin typeface="Whitney Book" pitchFamily="50" charset="0"/>
                  <a:cs typeface="Whitney Book" pitchFamily="50" charset="0"/>
                </a:rPr>
                <a:t>Эксперт РА</a:t>
              </a:r>
              <a:endParaRPr lang="ru-RU" sz="1600" b="1" dirty="0">
                <a:solidFill>
                  <a:srgbClr val="00BBE4"/>
                </a:solidFill>
                <a:latin typeface="Whitney Book" pitchFamily="50" charset="0"/>
                <a:cs typeface="Whitney Book" pitchFamily="50" charset="0"/>
              </a:endParaRPr>
            </a:p>
          </p:txBody>
        </p:sp>
      </p:grpSp>
      <p:sp>
        <p:nvSpPr>
          <p:cNvPr id="87" name="TextBox 35"/>
          <p:cNvSpPr txBox="1">
            <a:spLocks noChangeArrowheads="1"/>
          </p:cNvSpPr>
          <p:nvPr/>
        </p:nvSpPr>
        <p:spPr bwMode="auto">
          <a:xfrm>
            <a:off x="8731166" y="2054949"/>
            <a:ext cx="223293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rPr>
              <a:t>Прогноз</a:t>
            </a:r>
          </a:p>
          <a:p>
            <a:pPr lvl="0">
              <a:defRPr/>
            </a:pPr>
            <a:r>
              <a:rPr lang="ru-RU" sz="1400" b="1" dirty="0" smtClean="0">
                <a:solidFill>
                  <a:srgbClr val="00BBE4"/>
                </a:solidFill>
                <a:latin typeface="Whitney Book" pitchFamily="50" charset="0"/>
                <a:cs typeface="Whitney Book" pitchFamily="50" charset="0"/>
              </a:rPr>
              <a:t>Стабильный</a:t>
            </a:r>
            <a:endParaRPr lang="ru-RU" sz="1400" dirty="0">
              <a:solidFill>
                <a:srgbClr val="00BBE4"/>
              </a:solidFill>
              <a:latin typeface="Whitney Book" pitchFamily="50" charset="0"/>
              <a:cs typeface="Whitney Book" pitchFamily="50" charset="0"/>
            </a:endParaRPr>
          </a:p>
          <a:p>
            <a:pPr lvl="0">
              <a:defRPr/>
            </a:pPr>
            <a:r>
              <a:rPr lang="ru-RU" sz="1400" dirty="0" smtClean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дата </a:t>
            </a:r>
            <a:r>
              <a:rPr lang="ru-RU" sz="1400" dirty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присвоения</a:t>
            </a:r>
            <a:r>
              <a:rPr lang="ru-RU" sz="1400" dirty="0" smtClean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: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58595B"/>
                </a:solidFill>
                <a:latin typeface="Whitney Book" pitchFamily="50" charset="0"/>
                <a:cs typeface="Whitney Book" pitchFamily="50" charset="0"/>
              </a:rPr>
              <a:t>03.04.2019</a:t>
            </a:r>
            <a:endParaRPr lang="ru-RU" sz="1400" dirty="0">
              <a:solidFill>
                <a:srgbClr val="58595B"/>
              </a:solidFill>
              <a:latin typeface="Whitney Book" pitchFamily="50" charset="0"/>
              <a:cs typeface="Whitney Book" pitchFamily="50" charset="0"/>
            </a:endParaRPr>
          </a:p>
        </p:txBody>
      </p:sp>
      <p:sp>
        <p:nvSpPr>
          <p:cNvPr id="92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6824947" y="1034272"/>
            <a:ext cx="3649220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1600" b="1" cap="all" dirty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Кредитные рейтинги</a:t>
            </a:r>
          </a:p>
        </p:txBody>
      </p:sp>
      <p:grpSp>
        <p:nvGrpSpPr>
          <p:cNvPr id="135" name="Группа 134"/>
          <p:cNvGrpSpPr/>
          <p:nvPr/>
        </p:nvGrpSpPr>
        <p:grpSpPr>
          <a:xfrm>
            <a:off x="599140" y="5467805"/>
            <a:ext cx="473768" cy="421079"/>
            <a:chOff x="7351712" y="4043363"/>
            <a:chExt cx="273050" cy="311151"/>
          </a:xfrm>
        </p:grpSpPr>
        <p:sp>
          <p:nvSpPr>
            <p:cNvPr id="136" name="Freeform 93"/>
            <p:cNvSpPr>
              <a:spLocks/>
            </p:cNvSpPr>
            <p:nvPr/>
          </p:nvSpPr>
          <p:spPr bwMode="auto">
            <a:xfrm>
              <a:off x="7351712" y="4168776"/>
              <a:ext cx="182562" cy="185738"/>
            </a:xfrm>
            <a:custGeom>
              <a:avLst/>
              <a:gdLst>
                <a:gd name="T0" fmla="*/ 100 w 115"/>
                <a:gd name="T1" fmla="*/ 117 h 117"/>
                <a:gd name="T2" fmla="*/ 100 w 115"/>
                <a:gd name="T3" fmla="*/ 56 h 117"/>
                <a:gd name="T4" fmla="*/ 115 w 115"/>
                <a:gd name="T5" fmla="*/ 56 h 117"/>
                <a:gd name="T6" fmla="*/ 57 w 115"/>
                <a:gd name="T7" fmla="*/ 0 h 117"/>
                <a:gd name="T8" fmla="*/ 0 w 115"/>
                <a:gd name="T9" fmla="*/ 56 h 117"/>
                <a:gd name="T10" fmla="*/ 14 w 115"/>
                <a:gd name="T11" fmla="*/ 56 h 117"/>
                <a:gd name="T12" fmla="*/ 14 w 115"/>
                <a:gd name="T13" fmla="*/ 67 h 117"/>
                <a:gd name="T14" fmla="*/ 14 w 115"/>
                <a:gd name="T15" fmla="*/ 117 h 117"/>
                <a:gd name="T16" fmla="*/ 47 w 115"/>
                <a:gd name="T17" fmla="*/ 117 h 117"/>
                <a:gd name="T18" fmla="*/ 47 w 115"/>
                <a:gd name="T19" fmla="*/ 84 h 117"/>
                <a:gd name="T20" fmla="*/ 69 w 115"/>
                <a:gd name="T21" fmla="*/ 8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5" h="117">
                  <a:moveTo>
                    <a:pt x="100" y="117"/>
                  </a:moveTo>
                  <a:lnTo>
                    <a:pt x="100" y="56"/>
                  </a:lnTo>
                  <a:lnTo>
                    <a:pt x="115" y="56"/>
                  </a:lnTo>
                  <a:lnTo>
                    <a:pt x="57" y="0"/>
                  </a:lnTo>
                  <a:lnTo>
                    <a:pt x="0" y="56"/>
                  </a:lnTo>
                  <a:lnTo>
                    <a:pt x="14" y="56"/>
                  </a:lnTo>
                  <a:lnTo>
                    <a:pt x="14" y="67"/>
                  </a:lnTo>
                  <a:lnTo>
                    <a:pt x="14" y="117"/>
                  </a:lnTo>
                  <a:lnTo>
                    <a:pt x="47" y="117"/>
                  </a:lnTo>
                  <a:lnTo>
                    <a:pt x="47" y="84"/>
                  </a:lnTo>
                  <a:lnTo>
                    <a:pt x="69" y="84"/>
                  </a:lnTo>
                </a:path>
              </a:pathLst>
            </a:cu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137" name="Freeform 94"/>
            <p:cNvSpPr>
              <a:spLocks/>
            </p:cNvSpPr>
            <p:nvPr/>
          </p:nvSpPr>
          <p:spPr bwMode="auto">
            <a:xfrm>
              <a:off x="7450137" y="4043363"/>
              <a:ext cx="174625" cy="185738"/>
            </a:xfrm>
            <a:custGeom>
              <a:avLst/>
              <a:gdLst>
                <a:gd name="T0" fmla="*/ 13 w 110"/>
                <a:gd name="T1" fmla="*/ 56 h 117"/>
                <a:gd name="T2" fmla="*/ 0 w 110"/>
                <a:gd name="T3" fmla="*/ 56 h 117"/>
                <a:gd name="T4" fmla="*/ 56 w 110"/>
                <a:gd name="T5" fmla="*/ 0 h 117"/>
                <a:gd name="T6" fmla="*/ 110 w 110"/>
                <a:gd name="T7" fmla="*/ 56 h 117"/>
                <a:gd name="T8" fmla="*/ 95 w 110"/>
                <a:gd name="T9" fmla="*/ 56 h 117"/>
                <a:gd name="T10" fmla="*/ 95 w 110"/>
                <a:gd name="T11" fmla="*/ 68 h 117"/>
                <a:gd name="T12" fmla="*/ 95 w 110"/>
                <a:gd name="T13" fmla="*/ 117 h 117"/>
                <a:gd name="T14" fmla="*/ 65 w 110"/>
                <a:gd name="T15" fmla="*/ 117 h 117"/>
                <a:gd name="T16" fmla="*/ 65 w 110"/>
                <a:gd name="T17" fmla="*/ 84 h 117"/>
                <a:gd name="T18" fmla="*/ 43 w 110"/>
                <a:gd name="T19" fmla="*/ 8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17">
                  <a:moveTo>
                    <a:pt x="13" y="56"/>
                  </a:moveTo>
                  <a:lnTo>
                    <a:pt x="0" y="56"/>
                  </a:lnTo>
                  <a:lnTo>
                    <a:pt x="56" y="0"/>
                  </a:lnTo>
                  <a:lnTo>
                    <a:pt x="110" y="56"/>
                  </a:lnTo>
                  <a:lnTo>
                    <a:pt x="95" y="56"/>
                  </a:lnTo>
                  <a:lnTo>
                    <a:pt x="95" y="68"/>
                  </a:lnTo>
                  <a:lnTo>
                    <a:pt x="95" y="117"/>
                  </a:lnTo>
                  <a:lnTo>
                    <a:pt x="65" y="117"/>
                  </a:lnTo>
                  <a:lnTo>
                    <a:pt x="65" y="84"/>
                  </a:lnTo>
                  <a:lnTo>
                    <a:pt x="43" y="84"/>
                  </a:lnTo>
                </a:path>
              </a:pathLst>
            </a:cu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</p:grpSp>
      <p:grpSp>
        <p:nvGrpSpPr>
          <p:cNvPr id="138" name="Группа 137"/>
          <p:cNvGrpSpPr/>
          <p:nvPr/>
        </p:nvGrpSpPr>
        <p:grpSpPr>
          <a:xfrm>
            <a:off x="3539912" y="4009065"/>
            <a:ext cx="360128" cy="317666"/>
            <a:chOff x="5911850" y="4043363"/>
            <a:chExt cx="266700" cy="301625"/>
          </a:xfrm>
        </p:grpSpPr>
        <p:sp>
          <p:nvSpPr>
            <p:cNvPr id="139" name="Line 95"/>
            <p:cNvSpPr>
              <a:spLocks noChangeShapeType="1"/>
            </p:cNvSpPr>
            <p:nvPr/>
          </p:nvSpPr>
          <p:spPr bwMode="auto">
            <a:xfrm>
              <a:off x="6078537" y="4089401"/>
              <a:ext cx="50800" cy="0"/>
            </a:xfrm>
            <a:prstGeom prst="line">
              <a:avLst/>
            </a:pr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140" name="Line 96"/>
            <p:cNvSpPr>
              <a:spLocks noChangeShapeType="1"/>
            </p:cNvSpPr>
            <p:nvPr/>
          </p:nvSpPr>
          <p:spPr bwMode="auto">
            <a:xfrm>
              <a:off x="6078537" y="4137026"/>
              <a:ext cx="50800" cy="0"/>
            </a:xfrm>
            <a:prstGeom prst="line">
              <a:avLst/>
            </a:pr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141" name="Line 97"/>
            <p:cNvSpPr>
              <a:spLocks noChangeShapeType="1"/>
            </p:cNvSpPr>
            <p:nvPr/>
          </p:nvSpPr>
          <p:spPr bwMode="auto">
            <a:xfrm>
              <a:off x="6078537" y="4183063"/>
              <a:ext cx="50800" cy="0"/>
            </a:xfrm>
            <a:prstGeom prst="line">
              <a:avLst/>
            </a:pr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142" name="Line 98"/>
            <p:cNvSpPr>
              <a:spLocks noChangeShapeType="1"/>
            </p:cNvSpPr>
            <p:nvPr/>
          </p:nvSpPr>
          <p:spPr bwMode="auto">
            <a:xfrm>
              <a:off x="6078537" y="4230688"/>
              <a:ext cx="50800" cy="0"/>
            </a:xfrm>
            <a:prstGeom prst="line">
              <a:avLst/>
            </a:pr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143" name="Line 99"/>
            <p:cNvSpPr>
              <a:spLocks noChangeShapeType="1"/>
            </p:cNvSpPr>
            <p:nvPr/>
          </p:nvSpPr>
          <p:spPr bwMode="auto">
            <a:xfrm>
              <a:off x="6078537" y="4281488"/>
              <a:ext cx="50800" cy="0"/>
            </a:xfrm>
            <a:prstGeom prst="line">
              <a:avLst/>
            </a:pr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144" name="Freeform 100"/>
            <p:cNvSpPr>
              <a:spLocks/>
            </p:cNvSpPr>
            <p:nvPr/>
          </p:nvSpPr>
          <p:spPr bwMode="auto">
            <a:xfrm>
              <a:off x="5911850" y="4043363"/>
              <a:ext cx="266700" cy="301625"/>
            </a:xfrm>
            <a:custGeom>
              <a:avLst/>
              <a:gdLst>
                <a:gd name="T0" fmla="*/ 78 w 168"/>
                <a:gd name="T1" fmla="*/ 170 h 190"/>
                <a:gd name="T2" fmla="*/ 78 w 168"/>
                <a:gd name="T3" fmla="*/ 99 h 190"/>
                <a:gd name="T4" fmla="*/ 0 w 168"/>
                <a:gd name="T5" fmla="*/ 99 h 190"/>
                <a:gd name="T6" fmla="*/ 0 w 168"/>
                <a:gd name="T7" fmla="*/ 190 h 190"/>
                <a:gd name="T8" fmla="*/ 168 w 168"/>
                <a:gd name="T9" fmla="*/ 190 h 190"/>
                <a:gd name="T10" fmla="*/ 168 w 168"/>
                <a:gd name="T11" fmla="*/ 0 h 190"/>
                <a:gd name="T12" fmla="*/ 74 w 168"/>
                <a:gd name="T13" fmla="*/ 0 h 190"/>
                <a:gd name="T14" fmla="*/ 74 w 168"/>
                <a:gd name="T15" fmla="*/ 7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190">
                  <a:moveTo>
                    <a:pt x="78" y="170"/>
                  </a:moveTo>
                  <a:lnTo>
                    <a:pt x="78" y="99"/>
                  </a:lnTo>
                  <a:lnTo>
                    <a:pt x="0" y="99"/>
                  </a:lnTo>
                  <a:lnTo>
                    <a:pt x="0" y="190"/>
                  </a:lnTo>
                  <a:lnTo>
                    <a:pt x="168" y="190"/>
                  </a:lnTo>
                  <a:lnTo>
                    <a:pt x="168" y="0"/>
                  </a:lnTo>
                  <a:lnTo>
                    <a:pt x="74" y="0"/>
                  </a:lnTo>
                  <a:lnTo>
                    <a:pt x="74" y="78"/>
                  </a:lnTo>
                </a:path>
              </a:pathLst>
            </a:cu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145" name="Line 101"/>
            <p:cNvSpPr>
              <a:spLocks noChangeShapeType="1"/>
            </p:cNvSpPr>
            <p:nvPr/>
          </p:nvSpPr>
          <p:spPr bwMode="auto">
            <a:xfrm>
              <a:off x="5945187" y="4271963"/>
              <a:ext cx="52387" cy="0"/>
            </a:xfrm>
            <a:prstGeom prst="line">
              <a:avLst/>
            </a:pr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146" name="Line 102"/>
            <p:cNvSpPr>
              <a:spLocks noChangeShapeType="1"/>
            </p:cNvSpPr>
            <p:nvPr/>
          </p:nvSpPr>
          <p:spPr bwMode="auto">
            <a:xfrm>
              <a:off x="5945187" y="4308476"/>
              <a:ext cx="52387" cy="0"/>
            </a:xfrm>
            <a:prstGeom prst="line">
              <a:avLst/>
            </a:pr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147" name="Line 103"/>
            <p:cNvSpPr>
              <a:spLocks noChangeShapeType="1"/>
            </p:cNvSpPr>
            <p:nvPr/>
          </p:nvSpPr>
          <p:spPr bwMode="auto">
            <a:xfrm>
              <a:off x="5945187" y="4235451"/>
              <a:ext cx="52387" cy="0"/>
            </a:xfrm>
            <a:prstGeom prst="line">
              <a:avLst/>
            </a:pr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  <p:sp>
          <p:nvSpPr>
            <p:cNvPr id="148" name="Line 104"/>
            <p:cNvSpPr>
              <a:spLocks noChangeShapeType="1"/>
            </p:cNvSpPr>
            <p:nvPr/>
          </p:nvSpPr>
          <p:spPr bwMode="auto">
            <a:xfrm>
              <a:off x="5972175" y="4137026"/>
              <a:ext cx="0" cy="55563"/>
            </a:xfrm>
            <a:prstGeom prst="line">
              <a:avLst/>
            </a:prstGeom>
            <a:noFill/>
            <a:ln w="19050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hitney Book" pitchFamily="50" charset="0"/>
                <a:cs typeface="Whitney Book" pitchFamily="50" charset="0"/>
              </a:endParaRPr>
            </a:p>
          </p:txBody>
        </p:sp>
      </p:grpSp>
      <p:sp>
        <p:nvSpPr>
          <p:cNvPr id="149" name="TextBox 148"/>
          <p:cNvSpPr txBox="1"/>
          <p:nvPr/>
        </p:nvSpPr>
        <p:spPr>
          <a:xfrm>
            <a:off x="4032758" y="4013112"/>
            <a:ext cx="2792189" cy="7848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5214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1" dirty="0" smtClean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19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AE3"/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rPr>
              <a:t>0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srgbClr val="00BAE3"/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rPr>
              <a:t> </a:t>
            </a:r>
            <a:r>
              <a:rPr lang="en-US" sz="1800" b="1" noProof="0" dirty="0" smtClean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0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AE3"/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rPr>
              <a:t>00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00BAE3"/>
              </a:solidFill>
              <a:effectLst/>
              <a:uLnTx/>
              <a:uFillTx/>
              <a:latin typeface="Whitney Book" pitchFamily="50" charset="0"/>
              <a:ea typeface="Whitney Книжный" charset="0"/>
              <a:cs typeface="Whitney Book" pitchFamily="50" charset="0"/>
            </a:endParaRPr>
          </a:p>
          <a:p>
            <a:pPr>
              <a:spcBef>
                <a:spcPts val="600"/>
              </a:spcBef>
              <a:defRPr/>
            </a:pPr>
            <a:r>
              <a:rPr lang="ru-RU" altLang="ru-RU" sz="1400" dirty="0" smtClean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Клиентов в корпоративном сегменте и МСБ</a:t>
            </a:r>
            <a:endParaRPr lang="ru-RU" altLang="ru-RU" sz="1400" dirty="0">
              <a:solidFill>
                <a:schemeClr val="tx1">
                  <a:lumMod val="75000"/>
                </a:schemeClr>
              </a:solidFill>
              <a:latin typeface="Whitney Book" pitchFamily="50" charset="0"/>
              <a:ea typeface="Whitney Книжный" charset="0"/>
              <a:cs typeface="Whitney Book" pitchFamily="50" charset="0"/>
            </a:endParaRPr>
          </a:p>
        </p:txBody>
      </p:sp>
      <p:grpSp>
        <p:nvGrpSpPr>
          <p:cNvPr id="67" name="Группа 66"/>
          <p:cNvGrpSpPr/>
          <p:nvPr/>
        </p:nvGrpSpPr>
        <p:grpSpPr>
          <a:xfrm>
            <a:off x="509297" y="3995308"/>
            <a:ext cx="596407" cy="253557"/>
            <a:chOff x="4400550" y="2647951"/>
            <a:chExt cx="387350" cy="211138"/>
          </a:xfrm>
        </p:grpSpPr>
        <p:sp>
          <p:nvSpPr>
            <p:cNvPr id="73" name="Freeform 80"/>
            <p:cNvSpPr>
              <a:spLocks/>
            </p:cNvSpPr>
            <p:nvPr/>
          </p:nvSpPr>
          <p:spPr bwMode="auto">
            <a:xfrm>
              <a:off x="4502150" y="2647951"/>
              <a:ext cx="120650" cy="211138"/>
            </a:xfrm>
            <a:custGeom>
              <a:avLst/>
              <a:gdLst>
                <a:gd name="T0" fmla="*/ 0 w 56"/>
                <a:gd name="T1" fmla="*/ 98 h 98"/>
                <a:gd name="T2" fmla="*/ 0 w 56"/>
                <a:gd name="T3" fmla="*/ 98 h 98"/>
                <a:gd name="T4" fmla="*/ 28 w 56"/>
                <a:gd name="T5" fmla="*/ 55 h 98"/>
                <a:gd name="T6" fmla="*/ 29 w 56"/>
                <a:gd name="T7" fmla="*/ 54 h 98"/>
                <a:gd name="T8" fmla="*/ 15 w 56"/>
                <a:gd name="T9" fmla="*/ 29 h 98"/>
                <a:gd name="T10" fmla="*/ 43 w 56"/>
                <a:gd name="T11" fmla="*/ 0 h 98"/>
                <a:gd name="T12" fmla="*/ 56 w 56"/>
                <a:gd name="T13" fmla="*/ 3 h 98"/>
                <a:gd name="T14" fmla="*/ 56 w 56"/>
                <a:gd name="T15" fmla="*/ 4 h 98"/>
                <a:gd name="T16" fmla="*/ 24 w 56"/>
                <a:gd name="T17" fmla="*/ 2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98">
                  <a:moveTo>
                    <a:pt x="0" y="98"/>
                  </a:moveTo>
                  <a:cubicBezTo>
                    <a:pt x="0" y="98"/>
                    <a:pt x="0" y="98"/>
                    <a:pt x="0" y="98"/>
                  </a:cubicBezTo>
                  <a:cubicBezTo>
                    <a:pt x="0" y="78"/>
                    <a:pt x="12" y="61"/>
                    <a:pt x="28" y="55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0" y="49"/>
                    <a:pt x="15" y="40"/>
                    <a:pt x="15" y="29"/>
                  </a:cubicBezTo>
                  <a:cubicBezTo>
                    <a:pt x="15" y="13"/>
                    <a:pt x="27" y="0"/>
                    <a:pt x="43" y="0"/>
                  </a:cubicBezTo>
                  <a:cubicBezTo>
                    <a:pt x="48" y="0"/>
                    <a:pt x="52" y="2"/>
                    <a:pt x="56" y="3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6" y="4"/>
                    <a:pt x="55" y="26"/>
                    <a:pt x="24" y="26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Freeform 81"/>
            <p:cNvSpPr>
              <a:spLocks/>
            </p:cNvSpPr>
            <p:nvPr/>
          </p:nvSpPr>
          <p:spPr bwMode="auto">
            <a:xfrm>
              <a:off x="4625975" y="2679701"/>
              <a:ext cx="65087" cy="179388"/>
            </a:xfrm>
            <a:custGeom>
              <a:avLst/>
              <a:gdLst>
                <a:gd name="T0" fmla="*/ 30 w 30"/>
                <a:gd name="T1" fmla="*/ 83 h 83"/>
                <a:gd name="T2" fmla="*/ 30 w 30"/>
                <a:gd name="T3" fmla="*/ 83 h 83"/>
                <a:gd name="T4" fmla="*/ 1 w 30"/>
                <a:gd name="T5" fmla="*/ 39 h 83"/>
                <a:gd name="T6" fmla="*/ 0 w 30"/>
                <a:gd name="T7" fmla="*/ 39 h 83"/>
                <a:gd name="T8" fmla="*/ 14 w 30"/>
                <a:gd name="T9" fmla="*/ 14 h 83"/>
                <a:gd name="T10" fmla="*/ 11 w 30"/>
                <a:gd name="T11" fmla="*/ 1 h 83"/>
                <a:gd name="T12" fmla="*/ 11 w 30"/>
                <a:gd name="T1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83">
                  <a:moveTo>
                    <a:pt x="30" y="83"/>
                  </a:moveTo>
                  <a:cubicBezTo>
                    <a:pt x="30" y="83"/>
                    <a:pt x="30" y="83"/>
                    <a:pt x="30" y="83"/>
                  </a:cubicBezTo>
                  <a:cubicBezTo>
                    <a:pt x="30" y="63"/>
                    <a:pt x="18" y="46"/>
                    <a:pt x="1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8" y="34"/>
                    <a:pt x="14" y="25"/>
                    <a:pt x="14" y="14"/>
                  </a:cubicBezTo>
                  <a:cubicBezTo>
                    <a:pt x="14" y="9"/>
                    <a:pt x="13" y="5"/>
                    <a:pt x="11" y="1"/>
                  </a:cubicBezTo>
                  <a:cubicBezTo>
                    <a:pt x="11" y="1"/>
                    <a:pt x="11" y="0"/>
                    <a:pt x="11" y="0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82"/>
            <p:cNvSpPr>
              <a:spLocks/>
            </p:cNvSpPr>
            <p:nvPr/>
          </p:nvSpPr>
          <p:spPr bwMode="auto">
            <a:xfrm>
              <a:off x="4538662" y="2779714"/>
              <a:ext cx="111125" cy="44450"/>
            </a:xfrm>
            <a:custGeom>
              <a:avLst/>
              <a:gdLst>
                <a:gd name="T0" fmla="*/ 0 w 52"/>
                <a:gd name="T1" fmla="*/ 0 h 21"/>
                <a:gd name="T2" fmla="*/ 52 w 52"/>
                <a:gd name="T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2" h="21">
                  <a:moveTo>
                    <a:pt x="0" y="0"/>
                  </a:moveTo>
                  <a:cubicBezTo>
                    <a:pt x="0" y="0"/>
                    <a:pt x="25" y="21"/>
                    <a:pt x="52" y="0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83"/>
            <p:cNvSpPr>
              <a:spLocks/>
            </p:cNvSpPr>
            <p:nvPr/>
          </p:nvSpPr>
          <p:spPr bwMode="auto">
            <a:xfrm>
              <a:off x="4400550" y="2687639"/>
              <a:ext cx="84137" cy="149225"/>
            </a:xfrm>
            <a:custGeom>
              <a:avLst/>
              <a:gdLst>
                <a:gd name="T0" fmla="*/ 0 w 39"/>
                <a:gd name="T1" fmla="*/ 69 h 69"/>
                <a:gd name="T2" fmla="*/ 0 w 39"/>
                <a:gd name="T3" fmla="*/ 69 h 69"/>
                <a:gd name="T4" fmla="*/ 20 w 39"/>
                <a:gd name="T5" fmla="*/ 38 h 69"/>
                <a:gd name="T6" fmla="*/ 20 w 39"/>
                <a:gd name="T7" fmla="*/ 38 h 69"/>
                <a:gd name="T8" fmla="*/ 10 w 39"/>
                <a:gd name="T9" fmla="*/ 20 h 69"/>
                <a:gd name="T10" fmla="*/ 30 w 39"/>
                <a:gd name="T11" fmla="*/ 0 h 69"/>
                <a:gd name="T12" fmla="*/ 39 w 39"/>
                <a:gd name="T13" fmla="*/ 2 h 69"/>
                <a:gd name="T14" fmla="*/ 39 w 39"/>
                <a:gd name="T15" fmla="*/ 3 h 69"/>
                <a:gd name="T16" fmla="*/ 17 w 39"/>
                <a:gd name="T17" fmla="*/ 1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69">
                  <a:moveTo>
                    <a:pt x="0" y="69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0" y="55"/>
                    <a:pt x="8" y="43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14" y="35"/>
                    <a:pt x="10" y="28"/>
                    <a:pt x="10" y="20"/>
                  </a:cubicBezTo>
                  <a:cubicBezTo>
                    <a:pt x="10" y="9"/>
                    <a:pt x="19" y="0"/>
                    <a:pt x="30" y="0"/>
                  </a:cubicBezTo>
                  <a:cubicBezTo>
                    <a:pt x="33" y="0"/>
                    <a:pt x="37" y="1"/>
                    <a:pt x="39" y="2"/>
                  </a:cubicBezTo>
                  <a:cubicBezTo>
                    <a:pt x="39" y="2"/>
                    <a:pt x="39" y="2"/>
                    <a:pt x="39" y="3"/>
                  </a:cubicBezTo>
                  <a:cubicBezTo>
                    <a:pt x="39" y="3"/>
                    <a:pt x="39" y="18"/>
                    <a:pt x="17" y="18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84"/>
            <p:cNvSpPr>
              <a:spLocks/>
            </p:cNvSpPr>
            <p:nvPr/>
          </p:nvSpPr>
          <p:spPr bwMode="auto">
            <a:xfrm>
              <a:off x="4489450" y="2711451"/>
              <a:ext cx="19050" cy="71438"/>
            </a:xfrm>
            <a:custGeom>
              <a:avLst/>
              <a:gdLst>
                <a:gd name="T0" fmla="*/ 7 w 9"/>
                <a:gd name="T1" fmla="*/ 0 h 33"/>
                <a:gd name="T2" fmla="*/ 7 w 9"/>
                <a:gd name="T3" fmla="*/ 0 h 33"/>
                <a:gd name="T4" fmla="*/ 9 w 9"/>
                <a:gd name="T5" fmla="*/ 9 h 33"/>
                <a:gd name="T6" fmla="*/ 0 w 9"/>
                <a:gd name="T7" fmla="*/ 27 h 33"/>
                <a:gd name="T8" fmla="*/ 0 w 9"/>
                <a:gd name="T9" fmla="*/ 27 h 33"/>
                <a:gd name="T10" fmla="*/ 8 w 9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33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9" y="3"/>
                    <a:pt x="9" y="6"/>
                    <a:pt x="9" y="9"/>
                  </a:cubicBezTo>
                  <a:cubicBezTo>
                    <a:pt x="9" y="17"/>
                    <a:pt x="5" y="23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8" y="33"/>
                    <a:pt x="8" y="33"/>
                    <a:pt x="8" y="33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" name="Freeform 85"/>
            <p:cNvSpPr>
              <a:spLocks/>
            </p:cNvSpPr>
            <p:nvPr/>
          </p:nvSpPr>
          <p:spPr bwMode="auto">
            <a:xfrm>
              <a:off x="4702175" y="2687639"/>
              <a:ext cx="85725" cy="149225"/>
            </a:xfrm>
            <a:custGeom>
              <a:avLst/>
              <a:gdLst>
                <a:gd name="T0" fmla="*/ 40 w 40"/>
                <a:gd name="T1" fmla="*/ 69 h 69"/>
                <a:gd name="T2" fmla="*/ 40 w 40"/>
                <a:gd name="T3" fmla="*/ 69 h 69"/>
                <a:gd name="T4" fmla="*/ 19 w 40"/>
                <a:gd name="T5" fmla="*/ 38 h 69"/>
                <a:gd name="T6" fmla="*/ 19 w 40"/>
                <a:gd name="T7" fmla="*/ 38 h 69"/>
                <a:gd name="T8" fmla="*/ 29 w 40"/>
                <a:gd name="T9" fmla="*/ 20 h 69"/>
                <a:gd name="T10" fmla="*/ 9 w 40"/>
                <a:gd name="T11" fmla="*/ 0 h 69"/>
                <a:gd name="T12" fmla="*/ 0 w 40"/>
                <a:gd name="T13" fmla="*/ 2 h 69"/>
                <a:gd name="T14" fmla="*/ 0 w 40"/>
                <a:gd name="T15" fmla="*/ 3 h 69"/>
                <a:gd name="T16" fmla="*/ 23 w 40"/>
                <a:gd name="T17" fmla="*/ 1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9">
                  <a:moveTo>
                    <a:pt x="40" y="69"/>
                  </a:moveTo>
                  <a:cubicBezTo>
                    <a:pt x="40" y="69"/>
                    <a:pt x="40" y="69"/>
                    <a:pt x="40" y="69"/>
                  </a:cubicBezTo>
                  <a:cubicBezTo>
                    <a:pt x="40" y="55"/>
                    <a:pt x="31" y="43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5" y="35"/>
                    <a:pt x="29" y="28"/>
                    <a:pt x="29" y="20"/>
                  </a:cubicBezTo>
                  <a:cubicBezTo>
                    <a:pt x="29" y="9"/>
                    <a:pt x="20" y="0"/>
                    <a:pt x="9" y="0"/>
                  </a:cubicBezTo>
                  <a:cubicBezTo>
                    <a:pt x="6" y="0"/>
                    <a:pt x="3" y="1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18"/>
                    <a:pt x="23" y="18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" name="Freeform 86"/>
            <p:cNvSpPr>
              <a:spLocks/>
            </p:cNvSpPr>
            <p:nvPr/>
          </p:nvSpPr>
          <p:spPr bwMode="auto">
            <a:xfrm>
              <a:off x="4678362" y="2711451"/>
              <a:ext cx="22225" cy="71438"/>
            </a:xfrm>
            <a:custGeom>
              <a:avLst/>
              <a:gdLst>
                <a:gd name="T0" fmla="*/ 2 w 10"/>
                <a:gd name="T1" fmla="*/ 0 h 33"/>
                <a:gd name="T2" fmla="*/ 2 w 10"/>
                <a:gd name="T3" fmla="*/ 0 h 33"/>
                <a:gd name="T4" fmla="*/ 0 w 10"/>
                <a:gd name="T5" fmla="*/ 9 h 33"/>
                <a:gd name="T6" fmla="*/ 10 w 10"/>
                <a:gd name="T7" fmla="*/ 27 h 33"/>
                <a:gd name="T8" fmla="*/ 9 w 10"/>
                <a:gd name="T9" fmla="*/ 27 h 33"/>
                <a:gd name="T10" fmla="*/ 1 w 10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33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3"/>
                    <a:pt x="0" y="6"/>
                    <a:pt x="0" y="9"/>
                  </a:cubicBezTo>
                  <a:cubicBezTo>
                    <a:pt x="0" y="17"/>
                    <a:pt x="4" y="23"/>
                    <a:pt x="10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" y="33"/>
                    <a:pt x="1" y="33"/>
                    <a:pt x="1" y="33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80" name="Группа 79"/>
          <p:cNvGrpSpPr/>
          <p:nvPr/>
        </p:nvGrpSpPr>
        <p:grpSpPr>
          <a:xfrm>
            <a:off x="3586776" y="5470214"/>
            <a:ext cx="384933" cy="330256"/>
            <a:chOff x="5187950" y="1852614"/>
            <a:chExt cx="269874" cy="296863"/>
          </a:xfrm>
        </p:grpSpPr>
        <p:sp>
          <p:nvSpPr>
            <p:cNvPr id="81" name="Freeform 34"/>
            <p:cNvSpPr>
              <a:spLocks/>
            </p:cNvSpPr>
            <p:nvPr/>
          </p:nvSpPr>
          <p:spPr bwMode="auto">
            <a:xfrm>
              <a:off x="5319712" y="2073276"/>
              <a:ext cx="47625" cy="55563"/>
            </a:xfrm>
            <a:custGeom>
              <a:avLst/>
              <a:gdLst>
                <a:gd name="T0" fmla="*/ 30 w 30"/>
                <a:gd name="T1" fmla="*/ 35 h 35"/>
                <a:gd name="T2" fmla="*/ 0 w 30"/>
                <a:gd name="T3" fmla="*/ 18 h 35"/>
                <a:gd name="T4" fmla="*/ 30 w 30"/>
                <a:gd name="T5" fmla="*/ 0 h 35"/>
                <a:gd name="T6" fmla="*/ 30 w 30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5">
                  <a:moveTo>
                    <a:pt x="30" y="35"/>
                  </a:moveTo>
                  <a:lnTo>
                    <a:pt x="0" y="18"/>
                  </a:lnTo>
                  <a:lnTo>
                    <a:pt x="30" y="0"/>
                  </a:lnTo>
                  <a:lnTo>
                    <a:pt x="30" y="35"/>
                  </a:lnTo>
                  <a:close/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35"/>
            <p:cNvSpPr>
              <a:spLocks/>
            </p:cNvSpPr>
            <p:nvPr/>
          </p:nvSpPr>
          <p:spPr bwMode="auto">
            <a:xfrm>
              <a:off x="5281612" y="2071689"/>
              <a:ext cx="46037" cy="55563"/>
            </a:xfrm>
            <a:custGeom>
              <a:avLst/>
              <a:gdLst>
                <a:gd name="T0" fmla="*/ 0 w 29"/>
                <a:gd name="T1" fmla="*/ 0 h 35"/>
                <a:gd name="T2" fmla="*/ 29 w 29"/>
                <a:gd name="T3" fmla="*/ 19 h 35"/>
                <a:gd name="T4" fmla="*/ 0 w 29"/>
                <a:gd name="T5" fmla="*/ 35 h 35"/>
                <a:gd name="T6" fmla="*/ 0 w 29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35">
                  <a:moveTo>
                    <a:pt x="0" y="0"/>
                  </a:moveTo>
                  <a:lnTo>
                    <a:pt x="29" y="19"/>
                  </a:lnTo>
                  <a:lnTo>
                    <a:pt x="0" y="3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36"/>
            <p:cNvSpPr>
              <a:spLocks/>
            </p:cNvSpPr>
            <p:nvPr/>
          </p:nvSpPr>
          <p:spPr bwMode="auto">
            <a:xfrm>
              <a:off x="5187950" y="1852614"/>
              <a:ext cx="173037" cy="296863"/>
            </a:xfrm>
            <a:custGeom>
              <a:avLst/>
              <a:gdLst>
                <a:gd name="T0" fmla="*/ 80 w 80"/>
                <a:gd name="T1" fmla="*/ 4 h 137"/>
                <a:gd name="T2" fmla="*/ 80 w 80"/>
                <a:gd name="T3" fmla="*/ 4 h 137"/>
                <a:gd name="T4" fmla="*/ 62 w 80"/>
                <a:gd name="T5" fmla="*/ 0 h 137"/>
                <a:gd name="T6" fmla="*/ 21 w 80"/>
                <a:gd name="T7" fmla="*/ 40 h 137"/>
                <a:gd name="T8" fmla="*/ 42 w 80"/>
                <a:gd name="T9" fmla="*/ 75 h 137"/>
                <a:gd name="T10" fmla="*/ 41 w 80"/>
                <a:gd name="T11" fmla="*/ 76 h 137"/>
                <a:gd name="T12" fmla="*/ 0 w 80"/>
                <a:gd name="T13" fmla="*/ 137 h 137"/>
                <a:gd name="T14" fmla="*/ 0 w 80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137">
                  <a:moveTo>
                    <a:pt x="80" y="4"/>
                  </a:moveTo>
                  <a:cubicBezTo>
                    <a:pt x="80" y="4"/>
                    <a:pt x="80" y="4"/>
                    <a:pt x="80" y="4"/>
                  </a:cubicBezTo>
                  <a:cubicBezTo>
                    <a:pt x="75" y="1"/>
                    <a:pt x="68" y="0"/>
                    <a:pt x="62" y="0"/>
                  </a:cubicBezTo>
                  <a:cubicBezTo>
                    <a:pt x="39" y="0"/>
                    <a:pt x="21" y="18"/>
                    <a:pt x="21" y="40"/>
                  </a:cubicBezTo>
                  <a:cubicBezTo>
                    <a:pt x="21" y="55"/>
                    <a:pt x="30" y="68"/>
                    <a:pt x="42" y="75"/>
                  </a:cubicBezTo>
                  <a:cubicBezTo>
                    <a:pt x="41" y="76"/>
                    <a:pt x="41" y="76"/>
                    <a:pt x="41" y="76"/>
                  </a:cubicBezTo>
                  <a:cubicBezTo>
                    <a:pt x="17" y="85"/>
                    <a:pt x="0" y="109"/>
                    <a:pt x="0" y="137"/>
                  </a:cubicBezTo>
                  <a:cubicBezTo>
                    <a:pt x="0" y="137"/>
                    <a:pt x="0" y="137"/>
                    <a:pt x="0" y="137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37"/>
            <p:cNvSpPr>
              <a:spLocks/>
            </p:cNvSpPr>
            <p:nvPr/>
          </p:nvSpPr>
          <p:spPr bwMode="auto">
            <a:xfrm>
              <a:off x="5364162" y="1898651"/>
              <a:ext cx="93662" cy="250825"/>
            </a:xfrm>
            <a:custGeom>
              <a:avLst/>
              <a:gdLst>
                <a:gd name="T0" fmla="*/ 43 w 43"/>
                <a:gd name="T1" fmla="*/ 116 h 116"/>
                <a:gd name="T2" fmla="*/ 43 w 43"/>
                <a:gd name="T3" fmla="*/ 116 h 116"/>
                <a:gd name="T4" fmla="*/ 2 w 43"/>
                <a:gd name="T5" fmla="*/ 55 h 116"/>
                <a:gd name="T6" fmla="*/ 0 w 43"/>
                <a:gd name="T7" fmla="*/ 54 h 116"/>
                <a:gd name="T8" fmla="*/ 20 w 43"/>
                <a:gd name="T9" fmla="*/ 19 h 116"/>
                <a:gd name="T10" fmla="*/ 16 w 43"/>
                <a:gd name="T11" fmla="*/ 0 h 116"/>
                <a:gd name="T12" fmla="*/ 15 w 43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6">
                  <a:moveTo>
                    <a:pt x="43" y="116"/>
                  </a:moveTo>
                  <a:cubicBezTo>
                    <a:pt x="43" y="116"/>
                    <a:pt x="43" y="116"/>
                    <a:pt x="43" y="116"/>
                  </a:cubicBezTo>
                  <a:cubicBezTo>
                    <a:pt x="43" y="88"/>
                    <a:pt x="26" y="64"/>
                    <a:pt x="2" y="5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2" y="47"/>
                    <a:pt x="20" y="34"/>
                    <a:pt x="20" y="19"/>
                  </a:cubicBezTo>
                  <a:cubicBezTo>
                    <a:pt x="20" y="12"/>
                    <a:pt x="19" y="6"/>
                    <a:pt x="16" y="0"/>
                  </a:cubicBezTo>
                  <a:cubicBezTo>
                    <a:pt x="16" y="0"/>
                    <a:pt x="16" y="0"/>
                    <a:pt x="15" y="0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89" name="Text Box 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86167" y="6481648"/>
            <a:ext cx="10526739" cy="12464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28600" indent="-228600" defTabSz="1007365" fontAlgn="base">
              <a:spcBef>
                <a:spcPct val="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SzPct val="100000"/>
              <a:buFontTx/>
              <a:buAutoNum type="arabicParenBoth"/>
              <a:tabLst>
                <a:tab pos="266700" algn="l"/>
              </a:tabLst>
            </a:pP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  <a:latin typeface="Whitney Medium" pitchFamily="2" charset="0"/>
                <a:cs typeface="Whitney Medium" pitchFamily="2" charset="0"/>
              </a:rPr>
              <a:t>Управленческие данные по состоянию на 01.04.2019</a:t>
            </a:r>
            <a:endParaRPr lang="en-US" sz="900" dirty="0" smtClean="0">
              <a:solidFill>
                <a:schemeClr val="bg1">
                  <a:lumMod val="50000"/>
                </a:schemeClr>
              </a:solidFill>
              <a:latin typeface="Whitney Medium" pitchFamily="2" charset="0"/>
              <a:cs typeface="Whitney Medium" pitchFamily="2" charset="0"/>
            </a:endParaRPr>
          </a:p>
          <a:p>
            <a:pPr marL="228600" indent="-228600" defTabSz="1007365" fontAlgn="base">
              <a:spcBef>
                <a:spcPct val="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SzPct val="100000"/>
              <a:buFontTx/>
              <a:buAutoNum type="arabicParenBoth"/>
              <a:tabLst>
                <a:tab pos="266700" algn="l"/>
              </a:tabLst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Whitney Medium" pitchFamily="2" charset="0"/>
                <a:cs typeface="Whitney Medium" pitchFamily="2" charset="0"/>
              </a:rPr>
              <a:t>По данным консолидированной отчетности по состоянию на 31.03.2019 (МСФО)</a:t>
            </a:r>
          </a:p>
          <a:p>
            <a:pPr defTabSz="1007365" fontAlgn="base">
              <a:spcBef>
                <a:spcPct val="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SzPct val="100000"/>
              <a:tabLst>
                <a:tab pos="266700" algn="l"/>
              </a:tabLst>
            </a:pPr>
            <a:endParaRPr lang="en-US" sz="900" dirty="0" smtClean="0">
              <a:solidFill>
                <a:schemeClr val="bg1">
                  <a:lumMod val="50000"/>
                </a:schemeClr>
              </a:solidFill>
              <a:latin typeface="Whitney Medium" pitchFamily="2" charset="0"/>
              <a:cs typeface="Whitney Medium" pitchFamily="2" charset="0"/>
            </a:endParaRPr>
          </a:p>
          <a:p>
            <a:pPr marL="228600" indent="-228600" defTabSz="1007365" fontAlgn="base">
              <a:spcBef>
                <a:spcPct val="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SzPct val="100000"/>
              <a:buFontTx/>
              <a:buAutoNum type="arabicParenBoth"/>
              <a:tabLst>
                <a:tab pos="266700" algn="l"/>
              </a:tabLst>
            </a:pPr>
            <a:endParaRPr lang="ru-RU" sz="900" dirty="0">
              <a:solidFill>
                <a:schemeClr val="bg1">
                  <a:lumMod val="50000"/>
                </a:schemeClr>
              </a:solidFill>
              <a:latin typeface="Whitney Medium" pitchFamily="2" charset="0"/>
              <a:cs typeface="Whitney Medium" pitchFamily="2" charset="0"/>
            </a:endParaRPr>
          </a:p>
          <a:p>
            <a:pPr marL="228600" indent="-228600" defTabSz="1007365" fontAlgn="base">
              <a:spcBef>
                <a:spcPct val="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SzPct val="100000"/>
              <a:buFontTx/>
              <a:buAutoNum type="arabicParenBoth"/>
              <a:tabLst>
                <a:tab pos="266700" algn="l"/>
              </a:tabLst>
            </a:pPr>
            <a:endParaRPr lang="ru-RU" sz="900" dirty="0">
              <a:solidFill>
                <a:schemeClr val="bg1">
                  <a:lumMod val="50000"/>
                </a:schemeClr>
              </a:solidFill>
              <a:latin typeface="Whitney Medium" pitchFamily="2" charset="0"/>
              <a:cs typeface="Whitney Medium" pitchFamily="2" charset="0"/>
            </a:endParaRPr>
          </a:p>
          <a:p>
            <a:pPr marL="228600" indent="-228600" defTabSz="1007365" fontAlgn="base">
              <a:spcBef>
                <a:spcPct val="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SzPct val="100000"/>
              <a:buFontTx/>
              <a:buAutoNum type="arabicParenBoth"/>
              <a:tabLst>
                <a:tab pos="266700" algn="l"/>
              </a:tabLst>
            </a:pPr>
            <a:endParaRPr lang="ru-RU" sz="900" dirty="0">
              <a:solidFill>
                <a:schemeClr val="bg1">
                  <a:lumMod val="50000"/>
                </a:schemeClr>
              </a:solidFill>
              <a:latin typeface="Whitney Medium" pitchFamily="2" charset="0"/>
              <a:cs typeface="Whitney Medium" pitchFamily="2" charset="0"/>
            </a:endParaRPr>
          </a:p>
          <a:p>
            <a:pPr defTabSz="1007365" fontAlgn="base">
              <a:spcBef>
                <a:spcPct val="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SzPct val="100000"/>
              <a:tabLst>
                <a:tab pos="266700" algn="l"/>
              </a:tabLst>
            </a:pP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  <a:latin typeface="Whitney Medium" pitchFamily="2" charset="0"/>
                <a:cs typeface="Whitney Medium" pitchFamily="2" charset="0"/>
              </a:rPr>
              <a:t> </a:t>
            </a:r>
          </a:p>
          <a:p>
            <a:pPr defTabSz="1007365" fontAlgn="base">
              <a:spcBef>
                <a:spcPct val="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SzPct val="100000"/>
              <a:tabLst>
                <a:tab pos="266700" algn="l"/>
              </a:tabLst>
            </a:pPr>
            <a:endParaRPr lang="ru-RU" sz="900" dirty="0">
              <a:solidFill>
                <a:schemeClr val="bg1">
                  <a:lumMod val="50000"/>
                </a:schemeClr>
              </a:solidFill>
              <a:latin typeface="Whitney Medium" pitchFamily="2" charset="0"/>
              <a:cs typeface="Whitney Medium" pitchFamily="2" charset="0"/>
            </a:endParaRPr>
          </a:p>
          <a:p>
            <a:pPr defTabSz="1007365" fontAlgn="base">
              <a:spcBef>
                <a:spcPct val="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SzPct val="100000"/>
              <a:tabLst>
                <a:tab pos="266700" algn="l"/>
              </a:tabLst>
            </a:pPr>
            <a:endParaRPr lang="ru-RU" sz="9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5" name="Рисунок 7">
            <a:extLst>
              <a:ext uri="{FF2B5EF4-FFF2-40B4-BE49-F238E27FC236}">
                <a16:creationId xmlns:a16="http://schemas.microsoft.com/office/drawing/2014/main" xmlns="" id="{FD82F718-7FC2-4750-BE58-B1318481429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185" y="6571090"/>
            <a:ext cx="209274" cy="162716"/>
          </a:xfrm>
          <a:prstGeom prst="rect">
            <a:avLst/>
          </a:prstGeom>
        </p:spPr>
      </p:pic>
      <p:sp>
        <p:nvSpPr>
          <p:cNvPr id="95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6802657" y="3475583"/>
            <a:ext cx="4018288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buNone/>
            </a:pPr>
            <a:r>
              <a:rPr lang="ru-RU" sz="1600" b="1" cap="all" dirty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Финансовые </a:t>
            </a:r>
            <a:r>
              <a:rPr lang="ru-RU" sz="1600" b="1" cap="all" dirty="0" smtClean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показатели </a:t>
            </a:r>
            <a:r>
              <a:rPr lang="ru-RU" sz="1600" b="1" cap="all" baseline="30000" dirty="0" smtClean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(</a:t>
            </a:r>
            <a:r>
              <a:rPr lang="en-US" sz="1600" b="1" cap="all" baseline="30000" dirty="0" smtClean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2</a:t>
            </a:r>
            <a:r>
              <a:rPr lang="ru-RU" sz="1600" b="1" cap="all" baseline="30000" dirty="0" smtClean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)</a:t>
            </a:r>
            <a:endParaRPr lang="ru-RU" sz="1600" b="1" cap="all" dirty="0">
              <a:solidFill>
                <a:srgbClr val="00BBE4"/>
              </a:solidFill>
              <a:latin typeface="Whitney Book" pitchFamily="50" charset="0"/>
              <a:ea typeface="Whitney Book" pitchFamily="50" charset="0"/>
              <a:cs typeface="Whitney Book" pitchFamily="50" charset="0"/>
            </a:endParaRPr>
          </a:p>
        </p:txBody>
      </p:sp>
      <p:sp>
        <p:nvSpPr>
          <p:cNvPr id="98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574069" y="3466656"/>
            <a:ext cx="5971824" cy="24622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ru-RU" sz="1600" b="1" cap="all" dirty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операционные </a:t>
            </a:r>
            <a:r>
              <a:rPr lang="ru-RU" sz="1600" b="1" cap="all" dirty="0" smtClean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показатели </a:t>
            </a:r>
            <a:r>
              <a:rPr lang="ru-RU" sz="1600" b="1" cap="all" baseline="30000" dirty="0" smtClean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(</a:t>
            </a:r>
            <a:r>
              <a:rPr lang="en-US" sz="1600" b="1" cap="all" baseline="30000" dirty="0" smtClean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1</a:t>
            </a:r>
            <a:r>
              <a:rPr lang="ru-RU" sz="1600" b="1" cap="all" baseline="30000" dirty="0" smtClean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)</a:t>
            </a:r>
            <a:r>
              <a:rPr lang="ru-RU" sz="1600" b="1" cap="all" dirty="0" smtClean="0">
                <a:solidFill>
                  <a:srgbClr val="00BBE4"/>
                </a:solidFill>
                <a:latin typeface="Whitney Book" pitchFamily="50" charset="0"/>
                <a:ea typeface="Whitney Book" pitchFamily="50" charset="0"/>
                <a:cs typeface="Whitney Book" pitchFamily="50" charset="0"/>
              </a:rPr>
              <a:t> </a:t>
            </a:r>
            <a:endParaRPr lang="ru-RU" sz="1600" b="1" cap="all" dirty="0">
              <a:solidFill>
                <a:srgbClr val="00BBE4"/>
              </a:solidFill>
              <a:latin typeface="Whitney Book" pitchFamily="50" charset="0"/>
              <a:ea typeface="Whitney Book" pitchFamily="50" charset="0"/>
              <a:cs typeface="Whitney Book" pitchFamily="50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6938534" y="4014805"/>
            <a:ext cx="2572434" cy="545901"/>
            <a:chOff x="6265619" y="3894515"/>
            <a:chExt cx="2212596" cy="602007"/>
          </a:xfrm>
        </p:grpSpPr>
        <p:sp>
          <p:nvSpPr>
            <p:cNvPr id="100" name="TextBox 99"/>
            <p:cNvSpPr txBox="1"/>
            <p:nvPr/>
          </p:nvSpPr>
          <p:spPr>
            <a:xfrm>
              <a:off x="6265619" y="3894515"/>
              <a:ext cx="2212595" cy="28284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521437">
                <a:lnSpc>
                  <a:spcPts val="1979"/>
                </a:lnSpc>
                <a:spcBef>
                  <a:spcPct val="0"/>
                </a:spcBef>
                <a:defRPr/>
              </a:pPr>
              <a:r>
                <a:rPr lang="ru-RU" altLang="ru-RU" sz="1400" dirty="0" smtClean="0">
                  <a:solidFill>
                    <a:schemeClr val="tx1">
                      <a:lumMod val="75000"/>
                    </a:schemeClr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Активы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6265620" y="4191054"/>
              <a:ext cx="2212595" cy="30546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dirty="0">
                  <a:solidFill>
                    <a:srgbClr val="00BAE3"/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2</a:t>
              </a:r>
              <a:r>
                <a:rPr lang="en-GB" sz="1800" b="1" dirty="0" smtClean="0">
                  <a:solidFill>
                    <a:srgbClr val="00BAE3"/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 </a:t>
              </a:r>
              <a:r>
                <a:rPr lang="ru-RU" sz="1800" b="1" dirty="0" smtClean="0">
                  <a:solidFill>
                    <a:srgbClr val="00BAE3"/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63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AE3"/>
                  </a:solidFill>
                  <a:effectLst/>
                  <a:uLnTx/>
                  <a:uFillTx/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 млрд руб</a:t>
              </a: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AE3"/>
                  </a:solidFill>
                  <a:effectLst/>
                  <a:uLnTx/>
                  <a:uFillTx/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.</a:t>
              </a:r>
              <a:endParaRPr kumimoji="0" lang="ru-RU" alt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9854518" y="4014051"/>
            <a:ext cx="2577495" cy="548868"/>
            <a:chOff x="8312103" y="4704392"/>
            <a:chExt cx="2216949" cy="605279"/>
          </a:xfrm>
        </p:grpSpPr>
        <p:sp>
          <p:nvSpPr>
            <p:cNvPr id="96" name="TextBox 95"/>
            <p:cNvSpPr txBox="1"/>
            <p:nvPr/>
          </p:nvSpPr>
          <p:spPr>
            <a:xfrm>
              <a:off x="8316457" y="4704392"/>
              <a:ext cx="2212595" cy="60527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521437">
                <a:lnSpc>
                  <a:spcPts val="1979"/>
                </a:lnSpc>
                <a:spcBef>
                  <a:spcPct val="0"/>
                </a:spcBef>
                <a:defRPr/>
              </a:pPr>
              <a:r>
                <a:rPr lang="ru-RU" altLang="ru-RU" sz="1400" dirty="0" smtClean="0">
                  <a:solidFill>
                    <a:schemeClr val="tx1">
                      <a:lumMod val="75000"/>
                    </a:schemeClr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Капитал</a:t>
              </a:r>
              <a:endParaRPr lang="en-US" altLang="ru-RU" sz="1400" dirty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8312103" y="4978826"/>
              <a:ext cx="2212595" cy="30546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dirty="0" smtClean="0">
                  <a:solidFill>
                    <a:srgbClr val="00BAE3"/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426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AE3"/>
                  </a:solidFill>
                  <a:effectLst/>
                  <a:uLnTx/>
                  <a:uFillTx/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 млрд руб.</a:t>
              </a:r>
              <a:endParaRPr kumimoji="0" lang="ru-RU" alt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7900076" y="4783759"/>
            <a:ext cx="3221782" cy="879651"/>
            <a:chOff x="6308532" y="5238786"/>
            <a:chExt cx="2771111" cy="1563267"/>
          </a:xfrm>
        </p:grpSpPr>
        <p:sp>
          <p:nvSpPr>
            <p:cNvPr id="66" name="TextBox 65"/>
            <p:cNvSpPr txBox="1"/>
            <p:nvPr/>
          </p:nvSpPr>
          <p:spPr>
            <a:xfrm>
              <a:off x="6308532" y="5238786"/>
              <a:ext cx="2771111" cy="97541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521437">
                <a:lnSpc>
                  <a:spcPts val="1979"/>
                </a:lnSpc>
                <a:spcBef>
                  <a:spcPct val="0"/>
                </a:spcBef>
                <a:defRPr/>
              </a:pPr>
              <a:r>
                <a:rPr lang="ru-RU" altLang="ru-RU" sz="1400" dirty="0" smtClean="0">
                  <a:solidFill>
                    <a:schemeClr val="tx1">
                      <a:lumMod val="75000"/>
                    </a:schemeClr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Достаточность капитала</a:t>
              </a:r>
              <a:endParaRPr lang="en-US" altLang="ru-RU" sz="1400" dirty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7172216" y="5790171"/>
              <a:ext cx="728808" cy="1011882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dirty="0" smtClean="0">
                  <a:solidFill>
                    <a:srgbClr val="00BAE3"/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15,1%</a:t>
              </a:r>
              <a:endParaRPr kumimoji="0" lang="ru-RU" alt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8359336" y="5459133"/>
            <a:ext cx="4059646" cy="516591"/>
            <a:chOff x="7344705" y="5492148"/>
            <a:chExt cx="3491773" cy="569685"/>
          </a:xfrm>
        </p:grpSpPr>
        <p:sp>
          <p:nvSpPr>
            <p:cNvPr id="101" name="TextBox 100"/>
            <p:cNvSpPr txBox="1"/>
            <p:nvPr/>
          </p:nvSpPr>
          <p:spPr>
            <a:xfrm>
              <a:off x="7344705" y="5756364"/>
              <a:ext cx="3084330" cy="30546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521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noProof="0" dirty="0" smtClean="0">
                  <a:solidFill>
                    <a:srgbClr val="00BAE3"/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23,8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BAE3"/>
                  </a:solidFill>
                  <a:effectLst/>
                  <a:uLnTx/>
                  <a:uFillTx/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 млрд руб.</a:t>
              </a:r>
              <a:endParaRPr kumimoji="0" lang="ru-RU" alt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7752148" y="5492148"/>
              <a:ext cx="3084330" cy="28284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521437">
                <a:lnSpc>
                  <a:spcPts val="1979"/>
                </a:lnSpc>
                <a:spcBef>
                  <a:spcPct val="0"/>
                </a:spcBef>
                <a:defRPr/>
              </a:pPr>
              <a:r>
                <a:rPr lang="ru-RU" altLang="ru-RU" sz="1400" dirty="0" smtClean="0">
                  <a:solidFill>
                    <a:schemeClr val="tx1">
                      <a:lumMod val="75000"/>
                    </a:schemeClr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Прибыль</a:t>
              </a:r>
              <a:endPara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</p:txBody>
        </p:sp>
      </p:grpSp>
      <p:sp>
        <p:nvSpPr>
          <p:cNvPr id="93" name="TextBox 92"/>
          <p:cNvSpPr txBox="1"/>
          <p:nvPr/>
        </p:nvSpPr>
        <p:spPr>
          <a:xfrm>
            <a:off x="1189319" y="4018933"/>
            <a:ext cx="2191134" cy="5693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5214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 smtClean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2</a:t>
            </a:r>
            <a:r>
              <a:rPr lang="ru-RU" sz="1800" b="1" dirty="0" smtClean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,8 млн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00BAE3"/>
              </a:solidFill>
              <a:effectLst/>
              <a:uLnTx/>
              <a:uFillTx/>
              <a:latin typeface="Whitney Book" pitchFamily="50" charset="0"/>
              <a:ea typeface="Whitney Книжный" charset="0"/>
              <a:cs typeface="Whitney Book" pitchFamily="50" charset="0"/>
            </a:endParaRPr>
          </a:p>
          <a:p>
            <a:pPr>
              <a:spcBef>
                <a:spcPts val="600"/>
              </a:spcBef>
              <a:defRPr/>
            </a:pPr>
            <a:r>
              <a:rPr lang="ru-RU" altLang="ru-RU" sz="1400" dirty="0" smtClean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ea typeface="Whitney Книжный" charset="0"/>
                <a:cs typeface="Whitney Book" pitchFamily="50" charset="0"/>
              </a:rPr>
              <a:t>Розничных клиентов</a:t>
            </a:r>
            <a:endParaRPr lang="ru-RU" altLang="ru-RU" sz="1400" dirty="0">
              <a:solidFill>
                <a:schemeClr val="tx1">
                  <a:lumMod val="75000"/>
                </a:schemeClr>
              </a:solidFill>
              <a:latin typeface="Whitney Book" pitchFamily="50" charset="0"/>
              <a:ea typeface="Whitney Книжный" charset="0"/>
              <a:cs typeface="Whitney Book" pitchFamily="50" charset="0"/>
            </a:endParaRPr>
          </a:p>
        </p:txBody>
      </p:sp>
      <p:sp>
        <p:nvSpPr>
          <p:cNvPr id="106" name="Номер слайда 8"/>
          <p:cNvSpPr txBox="1">
            <a:spLocks/>
          </p:cNvSpPr>
          <p:nvPr/>
        </p:nvSpPr>
        <p:spPr>
          <a:xfrm>
            <a:off x="11530941" y="6509352"/>
            <a:ext cx="506568" cy="22169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521437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00BAE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21436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42874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7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564310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85747" indent="0" algn="l" defTabSz="521437" rtl="0" eaLnBrk="1" latinLnBrk="0" hangingPunct="1">
              <a:spcBef>
                <a:spcPct val="20000"/>
              </a:spcBef>
              <a:buFont typeface="Arial"/>
              <a:buNone/>
              <a:defRPr sz="23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86790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338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775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211" indent="-260718" algn="l" defTabSz="521437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52143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smtClean="0"/>
              <a:t> </a:t>
            </a:r>
            <a:fld id="{7DCF1EA8-601E-944A-8771-CD18B83E524B}" type="slidenum">
              <a:rPr lang="ru-RU" sz="1100" smtClean="0">
                <a:solidFill>
                  <a:schemeClr val="accent4"/>
                </a:solidFill>
              </a:rPr>
              <a:pPr marL="0" marR="0" lvl="0" indent="0" algn="r" defTabSz="521437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Whitney Book" pitchFamily="50" charset="0"/>
              <a:ea typeface="+mn-ea"/>
              <a:cs typeface="Whitney Book" pitchFamily="50" charset="0"/>
            </a:endParaRPr>
          </a:p>
        </p:txBody>
      </p:sp>
      <p:grpSp>
        <p:nvGrpSpPr>
          <p:cNvPr id="108" name="Группа 107"/>
          <p:cNvGrpSpPr/>
          <p:nvPr/>
        </p:nvGrpSpPr>
        <p:grpSpPr>
          <a:xfrm>
            <a:off x="4153498" y="5466274"/>
            <a:ext cx="3601265" cy="455035"/>
            <a:chOff x="6133660" y="5492148"/>
            <a:chExt cx="3097511" cy="501803"/>
          </a:xfrm>
        </p:grpSpPr>
        <p:sp>
          <p:nvSpPr>
            <p:cNvPr id="109" name="TextBox 108"/>
            <p:cNvSpPr txBox="1"/>
            <p:nvPr/>
          </p:nvSpPr>
          <p:spPr>
            <a:xfrm>
              <a:off x="6146841" y="5756364"/>
              <a:ext cx="3084330" cy="23758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1400" dirty="0">
                  <a:solidFill>
                    <a:schemeClr val="tx1">
                      <a:lumMod val="75000"/>
                    </a:schemeClr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Сотрудников</a:t>
              </a: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6133660" y="5492148"/>
              <a:ext cx="3084330" cy="30546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521437">
                <a:spcBef>
                  <a:spcPts val="200"/>
                </a:spcBef>
                <a:defRPr/>
              </a:pPr>
              <a:r>
                <a:rPr lang="ru-RU" altLang="ru-RU" sz="1800" b="1" dirty="0">
                  <a:solidFill>
                    <a:srgbClr val="00BAE3"/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22 000</a:t>
              </a:r>
            </a:p>
          </p:txBody>
        </p:sp>
      </p:grpSp>
      <p:grpSp>
        <p:nvGrpSpPr>
          <p:cNvPr id="111" name="Группа 110"/>
          <p:cNvGrpSpPr/>
          <p:nvPr/>
        </p:nvGrpSpPr>
        <p:grpSpPr>
          <a:xfrm>
            <a:off x="1196059" y="5457352"/>
            <a:ext cx="3601265" cy="670479"/>
            <a:chOff x="6133660" y="5492148"/>
            <a:chExt cx="3097511" cy="739389"/>
          </a:xfrm>
        </p:grpSpPr>
        <p:sp>
          <p:nvSpPr>
            <p:cNvPr id="112" name="TextBox 111"/>
            <p:cNvSpPr txBox="1"/>
            <p:nvPr/>
          </p:nvSpPr>
          <p:spPr>
            <a:xfrm>
              <a:off x="6146841" y="5756364"/>
              <a:ext cx="3084330" cy="47517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1400" dirty="0" smtClean="0">
                  <a:solidFill>
                    <a:schemeClr val="tx1">
                      <a:lumMod val="75000"/>
                    </a:schemeClr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Семей – клиентов</a:t>
              </a:r>
            </a:p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ru-RU" sz="1400" dirty="0" smtClean="0">
                  <a:solidFill>
                    <a:schemeClr val="tx1">
                      <a:lumMod val="75000"/>
                    </a:schemeClr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Private Banking</a:t>
              </a:r>
              <a:endParaRPr lang="ru-RU" altLang="ru-RU" sz="1400" dirty="0">
                <a:solidFill>
                  <a:schemeClr val="tx1">
                    <a:lumMod val="75000"/>
                  </a:schemeClr>
                </a:solidFill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6133660" y="5492148"/>
              <a:ext cx="3084330" cy="30546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defTabSz="521437">
                <a:spcBef>
                  <a:spcPts val="200"/>
                </a:spcBef>
                <a:defRPr/>
              </a:pPr>
              <a:r>
                <a:rPr lang="ru-RU" altLang="ru-RU" sz="1800" b="1" dirty="0" smtClean="0">
                  <a:solidFill>
                    <a:srgbClr val="00BAE3"/>
                  </a:solidFill>
                  <a:latin typeface="Whitney Book" pitchFamily="50" charset="0"/>
                  <a:ea typeface="Whitney Книжный" charset="0"/>
                  <a:cs typeface="Whitney Book" pitchFamily="50" charset="0"/>
                </a:rPr>
                <a:t>8 300</a:t>
              </a:r>
              <a:endParaRPr lang="ru-RU" altLang="ru-RU" sz="1800" b="1" dirty="0">
                <a:solidFill>
                  <a:srgbClr val="00BAE3"/>
                </a:solidFill>
                <a:latin typeface="Whitney Book" pitchFamily="50" charset="0"/>
                <a:ea typeface="Whitney Книжный" charset="0"/>
                <a:cs typeface="Whitney Book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7444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xmlns="" id="{307494CC-5528-4681-8A4B-CB42A83FE0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54" y="1623"/>
          <a:ext cx="165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3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54" y="1623"/>
                        <a:ext cx="165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" y="2"/>
            <a:ext cx="165098" cy="1619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7" name="Заголовок 1"/>
          <p:cNvSpPr txBox="1">
            <a:spLocks/>
          </p:cNvSpPr>
          <p:nvPr/>
        </p:nvSpPr>
        <p:spPr>
          <a:xfrm>
            <a:off x="594339" y="303599"/>
            <a:ext cx="10544604" cy="4471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ru-RU"/>
            </a:defPPr>
            <a:lvl1pPr defTabSz="521228">
              <a:spcBef>
                <a:spcPct val="0"/>
              </a:spcBef>
              <a:buNone/>
              <a:defRPr sz="1800" b="0" i="0" cap="all" baseline="0">
                <a:solidFill>
                  <a:srgbClr val="00B0F0"/>
                </a:solidFill>
                <a:latin typeface="Whitney Light" pitchFamily="50" charset="0"/>
                <a:ea typeface="Whitney Book" charset="0"/>
                <a:cs typeface="Whitney Light" pitchFamily="50" charset="0"/>
              </a:defRPr>
            </a:lvl1pPr>
          </a:lstStyle>
          <a:p>
            <a:pPr defTabSz="913479" fontAlgn="base">
              <a:spcAft>
                <a:spcPct val="0"/>
              </a:spcAft>
              <a:tabLst>
                <a:tab pos="275340" algn="l"/>
              </a:tabLst>
            </a:pPr>
            <a:r>
              <a:rPr lang="ru-RU" b="1" dirty="0" smtClean="0">
                <a:solidFill>
                  <a:srgbClr val="00BBE4"/>
                </a:solidFill>
                <a:latin typeface="+mj-lt"/>
                <a:ea typeface="Calibri" charset="0"/>
                <a:cs typeface="Calibri" charset="0"/>
              </a:rPr>
              <a:t>КРЕДИТОВАНИЕ</a:t>
            </a:r>
            <a:endParaRPr lang="ru-RU" b="1" dirty="0">
              <a:solidFill>
                <a:srgbClr val="00BBE4"/>
              </a:solidFill>
              <a:latin typeface="+mj-lt"/>
              <a:ea typeface="Calibri" charset="0"/>
              <a:cs typeface="Calibri" charset="0"/>
            </a:endParaRPr>
          </a:p>
        </p:txBody>
      </p:sp>
      <p:sp>
        <p:nvSpPr>
          <p:cNvPr id="24" name="ACET">
            <a:extLst>
              <a:ext uri="{FF2B5EF4-FFF2-40B4-BE49-F238E27FC236}">
                <a16:creationId xmlns:a16="http://schemas.microsoft.com/office/drawing/2014/main" xmlns="" id="{C978E95B-8D3D-4398-BFB0-9478D3899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143" y="5344103"/>
            <a:ext cx="7823036" cy="94418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20655" anchor="b">
            <a:spAutoFit/>
          </a:bodyPr>
          <a:lstStyle/>
          <a:p>
            <a:r>
              <a:rPr lang="ru-RU" sz="1200" b="1" dirty="0" smtClean="0">
                <a:solidFill>
                  <a:srgbClr val="00BBE3"/>
                </a:solidFill>
                <a:latin typeface="Arial"/>
              </a:rPr>
              <a:t>Дополнительные возможности с участием органов господдержки малого бизнеса:</a:t>
            </a:r>
          </a:p>
          <a:p>
            <a:pPr marL="228600" indent="-228600">
              <a:buAutoNum type="arabicPeriod"/>
            </a:pPr>
            <a:r>
              <a:rPr lang="ru-RU" sz="1200" b="1" dirty="0" smtClean="0">
                <a:solidFill>
                  <a:srgbClr val="00BBE3"/>
                </a:solidFill>
                <a:latin typeface="Arial"/>
              </a:rPr>
              <a:t>Совместная программа льготного финансирования с АО «Корпорация МСП». </a:t>
            </a:r>
            <a:br>
              <a:rPr lang="ru-RU" sz="1200" b="1" dirty="0" smtClean="0">
                <a:solidFill>
                  <a:srgbClr val="00BBE3"/>
                </a:solidFill>
                <a:latin typeface="Arial"/>
              </a:rPr>
            </a:br>
            <a:r>
              <a:rPr lang="ru-RU" sz="1200" b="1" u="sng" dirty="0" smtClean="0">
                <a:solidFill>
                  <a:srgbClr val="0070C0"/>
                </a:solidFill>
                <a:latin typeface="Arial"/>
              </a:rPr>
              <a:t>Ставка – от 6,9% годовых</a:t>
            </a:r>
          </a:p>
          <a:p>
            <a:pPr marL="228600" indent="-228600">
              <a:buAutoNum type="arabicPeriod"/>
            </a:pPr>
            <a:r>
              <a:rPr lang="ru-RU" sz="1200" b="1" dirty="0" smtClean="0">
                <a:solidFill>
                  <a:srgbClr val="00BBE3"/>
                </a:solidFill>
                <a:latin typeface="Arial"/>
              </a:rPr>
              <a:t>Предоставление поручительств гарантийным фондом поддержки предпринимательства</a:t>
            </a:r>
          </a:p>
          <a:p>
            <a:pPr marL="228600" indent="-228600">
              <a:buAutoNum type="arabicPeriod"/>
            </a:pPr>
            <a:r>
              <a:rPr lang="ru-RU" sz="1200" b="1" dirty="0" smtClean="0">
                <a:solidFill>
                  <a:srgbClr val="00BBE3"/>
                </a:solidFill>
                <a:latin typeface="Arial"/>
              </a:rPr>
              <a:t>Предоставление гарантий МСП-Банком и АО «Корпорация МСП»</a:t>
            </a:r>
            <a:endParaRPr lang="ru-RU" sz="1200" b="1" dirty="0">
              <a:solidFill>
                <a:srgbClr val="00BBE3"/>
              </a:solidFill>
              <a:latin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871E2ECE-7275-473A-8E30-D5F56FE10881}"/>
              </a:ext>
            </a:extLst>
          </p:cNvPr>
          <p:cNvSpPr txBox="1">
            <a:spLocks/>
          </p:cNvSpPr>
          <p:nvPr/>
        </p:nvSpPr>
        <p:spPr>
          <a:xfrm>
            <a:off x="3306397" y="1452765"/>
            <a:ext cx="8202831" cy="2708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011208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218737" lvl="1" indent="-216944" defTabSz="1011208" eaLnBrk="1" latinLnBrk="0" hangingPunct="1">
              <a:buClr>
                <a:srgbClr val="00BBE3"/>
              </a:buClr>
              <a:buSzPct val="125000"/>
              <a:buFont typeface="Arial" panose="020B0604020202020204" pitchFamily="34" charset="0"/>
              <a:buChar char="•"/>
              <a:defRPr sz="1400" baseline="0">
                <a:latin typeface="+mn-lt"/>
              </a:defRPr>
            </a:lvl2pPr>
            <a:lvl3pPr marL="516362" lvl="2" indent="-295833" defTabSz="1011208" eaLnBrk="1" latinLnBrk="0" hangingPunct="1">
              <a:buClr>
                <a:srgbClr val="00BBE3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93862" lvl="3" indent="-175706" defTabSz="1011208" eaLnBrk="1" latinLnBrk="0" hangingPunct="1">
              <a:buClr>
                <a:srgbClr val="00BBE3"/>
              </a:buClr>
              <a:buSzPct val="120000"/>
              <a:buFont typeface="Arial" panose="020B0604020202020204" pitchFamily="34" charset="0"/>
              <a:buChar char="•"/>
              <a:defRPr sz="1400" baseline="0">
                <a:latin typeface="+mn-lt"/>
              </a:defRPr>
            </a:lvl4pPr>
            <a:lvl5pPr marL="846833" lvl="4" indent="-147020" defTabSz="1011208" eaLnBrk="1" latinLnBrk="0" hangingPunct="1">
              <a:buClr>
                <a:srgbClr val="00BBE3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6pPr>
            <a:lvl7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7pPr>
            <a:lvl8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8pPr>
            <a:lvl9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9pPr>
          </a:lstStyle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rgbClr val="595959"/>
                </a:solidFill>
              </a:rPr>
              <a:t>Процентная ставка от 9% годовых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428B7AE-4E82-4D3E-8D4F-30195E23B0ED}"/>
              </a:ext>
            </a:extLst>
          </p:cNvPr>
          <p:cNvSpPr txBox="1">
            <a:spLocks/>
          </p:cNvSpPr>
          <p:nvPr/>
        </p:nvSpPr>
        <p:spPr bwMode="gray">
          <a:xfrm>
            <a:off x="1472348" y="1484314"/>
            <a:ext cx="2364983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dirty="0" smtClean="0">
                <a:solidFill>
                  <a:srgbClr val="00BAE3"/>
                </a:solidFill>
                <a:latin typeface="Whitney Medium" pitchFamily="2" charset="0"/>
                <a:cs typeface="Whitney Medium" pitchFamily="2" charset="0"/>
              </a:rPr>
              <a:t>ВЫГОДНО</a:t>
            </a:r>
            <a:endParaRPr lang="ru-RU" sz="1800" dirty="0">
              <a:solidFill>
                <a:srgbClr val="00BAE3"/>
              </a:solidFill>
              <a:latin typeface="Whitney Medium" pitchFamily="2" charset="0"/>
              <a:cs typeface="Whitney Medium" pitchFamily="2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4428B7AE-4E82-4D3E-8D4F-30195E23B0ED}"/>
              </a:ext>
            </a:extLst>
          </p:cNvPr>
          <p:cNvSpPr txBox="1">
            <a:spLocks/>
          </p:cNvSpPr>
          <p:nvPr/>
        </p:nvSpPr>
        <p:spPr bwMode="gray">
          <a:xfrm>
            <a:off x="1426955" y="2511643"/>
            <a:ext cx="1585791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dirty="0" smtClean="0">
                <a:solidFill>
                  <a:srgbClr val="00BAE3"/>
                </a:solidFill>
                <a:latin typeface="Whitney Medium" pitchFamily="2" charset="0"/>
                <a:cs typeface="Whitney Medium" pitchFamily="2" charset="0"/>
              </a:rPr>
              <a:t>УДОБНО</a:t>
            </a:r>
            <a:endParaRPr lang="ru-RU" sz="1800" dirty="0">
              <a:solidFill>
                <a:srgbClr val="00BAE3"/>
              </a:solidFill>
              <a:latin typeface="Whitney Medium" pitchFamily="2" charset="0"/>
              <a:cs typeface="Whitney Medium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4428B7AE-4E82-4D3E-8D4F-30195E23B0ED}"/>
              </a:ext>
            </a:extLst>
          </p:cNvPr>
          <p:cNvSpPr txBox="1">
            <a:spLocks/>
          </p:cNvSpPr>
          <p:nvPr/>
        </p:nvSpPr>
        <p:spPr bwMode="gray">
          <a:xfrm>
            <a:off x="1443623" y="4408213"/>
            <a:ext cx="1953706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dirty="0" smtClean="0">
                <a:solidFill>
                  <a:srgbClr val="00BAE3"/>
                </a:solidFill>
                <a:latin typeface="Whitney Medium" pitchFamily="2" charset="0"/>
                <a:cs typeface="Whitney Medium" pitchFamily="2" charset="0"/>
              </a:rPr>
              <a:t>УНИВЕРСАЛЬНО</a:t>
            </a:r>
            <a:endParaRPr lang="ru-RU" sz="1800" dirty="0">
              <a:solidFill>
                <a:srgbClr val="00BAE3"/>
              </a:solidFill>
              <a:latin typeface="Whitney Medium" pitchFamily="2" charset="0"/>
              <a:cs typeface="Whitney Medium" pitchFamily="2" charset="0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6750" y="4269714"/>
            <a:ext cx="836137" cy="627813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871E2ECE-7275-473A-8E30-D5F56FE10881}"/>
              </a:ext>
            </a:extLst>
          </p:cNvPr>
          <p:cNvSpPr txBox="1">
            <a:spLocks/>
          </p:cNvSpPr>
          <p:nvPr/>
        </p:nvSpPr>
        <p:spPr>
          <a:xfrm>
            <a:off x="3306396" y="2275322"/>
            <a:ext cx="8202831" cy="199439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011208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218737" lvl="1" indent="-216944" defTabSz="1011208" eaLnBrk="1" latinLnBrk="0" hangingPunct="1">
              <a:buClr>
                <a:srgbClr val="00BBE3"/>
              </a:buClr>
              <a:buSzPct val="125000"/>
              <a:buFont typeface="Arial" panose="020B0604020202020204" pitchFamily="34" charset="0"/>
              <a:buChar char="•"/>
              <a:defRPr sz="1400" baseline="0">
                <a:latin typeface="+mn-lt"/>
              </a:defRPr>
            </a:lvl2pPr>
            <a:lvl3pPr marL="516362" lvl="2" indent="-295833" defTabSz="1011208" eaLnBrk="1" latinLnBrk="0" hangingPunct="1">
              <a:buClr>
                <a:srgbClr val="00BBE3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93862" lvl="3" indent="-175706" defTabSz="1011208" eaLnBrk="1" latinLnBrk="0" hangingPunct="1">
              <a:buClr>
                <a:srgbClr val="00BBE3"/>
              </a:buClr>
              <a:buSzPct val="120000"/>
              <a:buFont typeface="Arial" panose="020B0604020202020204" pitchFamily="34" charset="0"/>
              <a:buChar char="•"/>
              <a:defRPr sz="1400" baseline="0">
                <a:latin typeface="+mn-lt"/>
              </a:defRPr>
            </a:lvl4pPr>
            <a:lvl5pPr marL="846833" lvl="4" indent="-147020" defTabSz="1011208" eaLnBrk="1" latinLnBrk="0" hangingPunct="1">
              <a:buClr>
                <a:srgbClr val="00BBE3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6pPr>
            <a:lvl7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7pPr>
            <a:lvl8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8pPr>
            <a:lvl9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9pPr>
          </a:lstStyle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rgbClr val="595959"/>
                </a:solidFill>
              </a:rPr>
              <a:t>Сроки – до 15 лет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rgbClr val="595959"/>
                </a:solidFill>
              </a:rPr>
              <a:t>Отсрочка погашения основного долга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rgbClr val="595959"/>
                </a:solidFill>
              </a:rPr>
              <a:t>Рефинансирование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rgbClr val="595959"/>
                </a:solidFill>
              </a:rPr>
              <a:t>Гибкие графики погашения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rgbClr val="595959"/>
                </a:solidFill>
              </a:rPr>
              <a:t>Возможность получения финансирования </a:t>
            </a:r>
            <a:r>
              <a:rPr lang="ru-RU" sz="1600" b="1" u="sng" dirty="0" smtClean="0">
                <a:solidFill>
                  <a:srgbClr val="595959"/>
                </a:solidFill>
              </a:rPr>
              <a:t>без </a:t>
            </a:r>
            <a:br>
              <a:rPr lang="ru-RU" sz="1600" b="1" u="sng" dirty="0" smtClean="0">
                <a:solidFill>
                  <a:srgbClr val="595959"/>
                </a:solidFill>
              </a:rPr>
            </a:br>
            <a:r>
              <a:rPr lang="ru-RU" sz="1600" b="1" u="sng" dirty="0" smtClean="0">
                <a:solidFill>
                  <a:srgbClr val="595959"/>
                </a:solidFill>
              </a:rPr>
              <a:t>предоставления залогового обеспечения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endParaRPr lang="ru-RU" sz="1200" dirty="0" smtClean="0">
              <a:solidFill>
                <a:srgbClr val="595959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871E2ECE-7275-473A-8E30-D5F56FE10881}"/>
              </a:ext>
            </a:extLst>
          </p:cNvPr>
          <p:cNvSpPr txBox="1">
            <a:spLocks/>
          </p:cNvSpPr>
          <p:nvPr/>
        </p:nvSpPr>
        <p:spPr>
          <a:xfrm>
            <a:off x="3306396" y="4131214"/>
            <a:ext cx="7812255" cy="140346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011208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218737" lvl="1" indent="-216944" defTabSz="1011208" eaLnBrk="1" latinLnBrk="0" hangingPunct="1">
              <a:buClr>
                <a:srgbClr val="00BBE3"/>
              </a:buClr>
              <a:buSzPct val="125000"/>
              <a:buFont typeface="Arial" panose="020B0604020202020204" pitchFamily="34" charset="0"/>
              <a:buChar char="•"/>
              <a:defRPr sz="1400" baseline="0">
                <a:latin typeface="+mn-lt"/>
              </a:defRPr>
            </a:lvl2pPr>
            <a:lvl3pPr marL="516362" lvl="2" indent="-295833" defTabSz="1011208" eaLnBrk="1" latinLnBrk="0" hangingPunct="1">
              <a:buClr>
                <a:srgbClr val="00BBE3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93862" lvl="3" indent="-175706" defTabSz="1011208" eaLnBrk="1" latinLnBrk="0" hangingPunct="1">
              <a:buClr>
                <a:srgbClr val="00BBE3"/>
              </a:buClr>
              <a:buSzPct val="120000"/>
              <a:buFont typeface="Arial" panose="020B0604020202020204" pitchFamily="34" charset="0"/>
              <a:buChar char="•"/>
              <a:defRPr sz="1400" baseline="0">
                <a:latin typeface="+mn-lt"/>
              </a:defRPr>
            </a:lvl4pPr>
            <a:lvl5pPr marL="846833" lvl="4" indent="-147020" defTabSz="1011208" eaLnBrk="1" latinLnBrk="0" hangingPunct="1">
              <a:buClr>
                <a:srgbClr val="00BBE3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6pPr>
            <a:lvl7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7pPr>
            <a:lvl8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8pPr>
            <a:lvl9pPr marL="846833" indent="-147020" defTabSz="101120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7" baseline="0">
                <a:latin typeface="+mn-lt"/>
              </a:defRPr>
            </a:lvl9pPr>
          </a:lstStyle>
          <a:p>
            <a:pPr lvl="1">
              <a:lnSpc>
                <a:spcPct val="120000"/>
              </a:lnSpc>
            </a:pPr>
            <a:r>
              <a:rPr lang="ru-RU" sz="1600" b="1" dirty="0" smtClean="0">
                <a:solidFill>
                  <a:srgbClr val="595959"/>
                </a:solidFill>
              </a:rPr>
              <a:t>Инвестиционный кредит</a:t>
            </a:r>
          </a:p>
          <a:p>
            <a:pPr lvl="1">
              <a:lnSpc>
                <a:spcPct val="120000"/>
              </a:lnSpc>
            </a:pPr>
            <a:r>
              <a:rPr lang="ru-RU" sz="1600" b="1" dirty="0" smtClean="0">
                <a:solidFill>
                  <a:srgbClr val="595959"/>
                </a:solidFill>
              </a:rPr>
              <a:t>Кредит на пополнение  оборотных средств </a:t>
            </a:r>
          </a:p>
          <a:p>
            <a:pPr lvl="1">
              <a:lnSpc>
                <a:spcPct val="120000"/>
              </a:lnSpc>
            </a:pPr>
            <a:r>
              <a:rPr lang="ru-RU" sz="1600" b="1" dirty="0" smtClean="0">
                <a:solidFill>
                  <a:srgbClr val="595959"/>
                </a:solidFill>
              </a:rPr>
              <a:t>Контрактное финансирование</a:t>
            </a:r>
            <a:endParaRPr lang="ru-RU" sz="1600" b="1" dirty="0">
              <a:solidFill>
                <a:srgbClr val="595959"/>
              </a:solidFill>
            </a:endParaRPr>
          </a:p>
          <a:p>
            <a:pPr lvl="1">
              <a:lnSpc>
                <a:spcPct val="120000"/>
              </a:lnSpc>
            </a:pPr>
            <a:r>
              <a:rPr lang="ru-RU" sz="1600" b="1" dirty="0" smtClean="0">
                <a:solidFill>
                  <a:srgbClr val="595959"/>
                </a:solidFill>
              </a:rPr>
              <a:t>Овердрафт</a:t>
            </a:r>
            <a:endParaRPr lang="ru-RU" sz="1200" dirty="0">
              <a:solidFill>
                <a:srgbClr val="595959"/>
              </a:solidFill>
            </a:endParaRPr>
          </a:p>
          <a:p>
            <a:pPr lvl="1">
              <a:lnSpc>
                <a:spcPct val="120000"/>
              </a:lnSpc>
            </a:pPr>
            <a:endParaRPr lang="ru-RU" sz="1200" dirty="0">
              <a:solidFill>
                <a:srgbClr val="595959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546264" y="4091201"/>
            <a:ext cx="11475481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591232" y="5314822"/>
            <a:ext cx="11475481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546263" y="2146924"/>
            <a:ext cx="11475481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594339" y="1272509"/>
            <a:ext cx="717729" cy="667563"/>
            <a:chOff x="5187951" y="1846263"/>
            <a:chExt cx="266700" cy="320675"/>
          </a:xfrm>
        </p:grpSpPr>
        <p:sp>
          <p:nvSpPr>
            <p:cNvPr id="62" name="Freeform 97"/>
            <p:cNvSpPr>
              <a:spLocks/>
            </p:cNvSpPr>
            <p:nvPr/>
          </p:nvSpPr>
          <p:spPr bwMode="auto">
            <a:xfrm>
              <a:off x="5187951" y="1900238"/>
              <a:ext cx="266700" cy="266700"/>
            </a:xfrm>
            <a:custGeom>
              <a:avLst/>
              <a:gdLst>
                <a:gd name="T0" fmla="*/ 45 w 124"/>
                <a:gd name="T1" fmla="*/ 13 h 123"/>
                <a:gd name="T2" fmla="*/ 1 w 124"/>
                <a:gd name="T3" fmla="*/ 71 h 123"/>
                <a:gd name="T4" fmla="*/ 62 w 124"/>
                <a:gd name="T5" fmla="*/ 122 h 123"/>
                <a:gd name="T6" fmla="*/ 123 w 124"/>
                <a:gd name="T7" fmla="*/ 71 h 123"/>
                <a:gd name="T8" fmla="*/ 81 w 124"/>
                <a:gd name="T9" fmla="*/ 14 h 123"/>
                <a:gd name="T10" fmla="*/ 80 w 124"/>
                <a:gd name="T11" fmla="*/ 13 h 123"/>
                <a:gd name="T12" fmla="*/ 83 w 124"/>
                <a:gd name="T13" fmla="*/ 7 h 123"/>
                <a:gd name="T14" fmla="*/ 83 w 124"/>
                <a:gd name="T15" fmla="*/ 7 h 123"/>
                <a:gd name="T16" fmla="*/ 73 w 124"/>
                <a:gd name="T17" fmla="*/ 0 h 123"/>
                <a:gd name="T18" fmla="*/ 51 w 124"/>
                <a:gd name="T19" fmla="*/ 0 h 123"/>
                <a:gd name="T20" fmla="*/ 42 w 124"/>
                <a:gd name="T21" fmla="*/ 7 h 123"/>
                <a:gd name="T22" fmla="*/ 42 w 124"/>
                <a:gd name="T23" fmla="*/ 7 h 123"/>
                <a:gd name="T24" fmla="*/ 51 w 124"/>
                <a:gd name="T25" fmla="*/ 15 h 123"/>
                <a:gd name="T26" fmla="*/ 62 w 124"/>
                <a:gd name="T27" fmla="*/ 1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4" h="123">
                  <a:moveTo>
                    <a:pt x="45" y="13"/>
                  </a:moveTo>
                  <a:cubicBezTo>
                    <a:pt x="27" y="25"/>
                    <a:pt x="0" y="46"/>
                    <a:pt x="1" y="71"/>
                  </a:cubicBezTo>
                  <a:cubicBezTo>
                    <a:pt x="2" y="104"/>
                    <a:pt x="32" y="123"/>
                    <a:pt x="62" y="122"/>
                  </a:cubicBezTo>
                  <a:cubicBezTo>
                    <a:pt x="92" y="123"/>
                    <a:pt x="122" y="104"/>
                    <a:pt x="123" y="71"/>
                  </a:cubicBezTo>
                  <a:cubicBezTo>
                    <a:pt x="124" y="46"/>
                    <a:pt x="98" y="26"/>
                    <a:pt x="81" y="14"/>
                  </a:cubicBezTo>
                  <a:cubicBezTo>
                    <a:pt x="81" y="14"/>
                    <a:pt x="80" y="13"/>
                    <a:pt x="80" y="13"/>
                  </a:cubicBezTo>
                  <a:cubicBezTo>
                    <a:pt x="81" y="12"/>
                    <a:pt x="83" y="9"/>
                    <a:pt x="83" y="7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82" y="3"/>
                    <a:pt x="78" y="0"/>
                    <a:pt x="73" y="0"/>
                  </a:cubicBezTo>
                  <a:cubicBezTo>
                    <a:pt x="64" y="0"/>
                    <a:pt x="60" y="0"/>
                    <a:pt x="51" y="0"/>
                  </a:cubicBezTo>
                  <a:cubicBezTo>
                    <a:pt x="46" y="0"/>
                    <a:pt x="43" y="3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11"/>
                    <a:pt x="46" y="15"/>
                    <a:pt x="51" y="15"/>
                  </a:cubicBezTo>
                  <a:cubicBezTo>
                    <a:pt x="55" y="15"/>
                    <a:pt x="59" y="15"/>
                    <a:pt x="62" y="15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64" name="Freeform 98"/>
            <p:cNvSpPr>
              <a:spLocks/>
            </p:cNvSpPr>
            <p:nvPr/>
          </p:nvSpPr>
          <p:spPr bwMode="auto">
            <a:xfrm>
              <a:off x="5268913" y="1846263"/>
              <a:ext cx="114300" cy="53975"/>
            </a:xfrm>
            <a:custGeom>
              <a:avLst/>
              <a:gdLst>
                <a:gd name="T0" fmla="*/ 38 w 53"/>
                <a:gd name="T1" fmla="*/ 25 h 25"/>
                <a:gd name="T2" fmla="*/ 53 w 53"/>
                <a:gd name="T3" fmla="*/ 3 h 25"/>
                <a:gd name="T4" fmla="*/ 46 w 53"/>
                <a:gd name="T5" fmla="*/ 0 h 25"/>
                <a:gd name="T6" fmla="*/ 36 w 53"/>
                <a:gd name="T7" fmla="*/ 7 h 25"/>
                <a:gd name="T8" fmla="*/ 26 w 53"/>
                <a:gd name="T9" fmla="*/ 0 h 25"/>
                <a:gd name="T10" fmla="*/ 16 w 53"/>
                <a:gd name="T11" fmla="*/ 7 h 25"/>
                <a:gd name="T12" fmla="*/ 6 w 53"/>
                <a:gd name="T13" fmla="*/ 0 h 25"/>
                <a:gd name="T14" fmla="*/ 0 w 53"/>
                <a:gd name="T15" fmla="*/ 3 h 25"/>
                <a:gd name="T16" fmla="*/ 6 w 53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5">
                  <a:moveTo>
                    <a:pt x="38" y="25"/>
                  </a:moveTo>
                  <a:cubicBezTo>
                    <a:pt x="53" y="3"/>
                    <a:pt x="53" y="3"/>
                    <a:pt x="53" y="3"/>
                  </a:cubicBezTo>
                  <a:cubicBezTo>
                    <a:pt x="51" y="1"/>
                    <a:pt x="49" y="0"/>
                    <a:pt x="46" y="0"/>
                  </a:cubicBezTo>
                  <a:cubicBezTo>
                    <a:pt x="42" y="0"/>
                    <a:pt x="39" y="3"/>
                    <a:pt x="36" y="7"/>
                  </a:cubicBezTo>
                  <a:cubicBezTo>
                    <a:pt x="34" y="3"/>
                    <a:pt x="30" y="0"/>
                    <a:pt x="26" y="0"/>
                  </a:cubicBezTo>
                  <a:cubicBezTo>
                    <a:pt x="22" y="0"/>
                    <a:pt x="19" y="3"/>
                    <a:pt x="16" y="7"/>
                  </a:cubicBezTo>
                  <a:cubicBezTo>
                    <a:pt x="14" y="3"/>
                    <a:pt x="10" y="0"/>
                    <a:pt x="6" y="0"/>
                  </a:cubicBezTo>
                  <a:cubicBezTo>
                    <a:pt x="4" y="0"/>
                    <a:pt x="2" y="1"/>
                    <a:pt x="0" y="3"/>
                  </a:cubicBezTo>
                  <a:cubicBezTo>
                    <a:pt x="6" y="12"/>
                    <a:pt x="6" y="12"/>
                    <a:pt x="6" y="12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65" name="Freeform 99"/>
            <p:cNvSpPr>
              <a:spLocks/>
            </p:cNvSpPr>
            <p:nvPr/>
          </p:nvSpPr>
          <p:spPr bwMode="auto">
            <a:xfrm>
              <a:off x="5291138" y="2014538"/>
              <a:ext cx="61913" cy="87313"/>
            </a:xfrm>
            <a:custGeom>
              <a:avLst/>
              <a:gdLst>
                <a:gd name="T0" fmla="*/ 10 w 29"/>
                <a:gd name="T1" fmla="*/ 40 h 40"/>
                <a:gd name="T2" fmla="*/ 10 w 29"/>
                <a:gd name="T3" fmla="*/ 0 h 40"/>
                <a:gd name="T4" fmla="*/ 19 w 29"/>
                <a:gd name="T5" fmla="*/ 0 h 40"/>
                <a:gd name="T6" fmla="*/ 29 w 29"/>
                <a:gd name="T7" fmla="*/ 8 h 40"/>
                <a:gd name="T8" fmla="*/ 19 w 29"/>
                <a:gd name="T9" fmla="*/ 17 h 40"/>
                <a:gd name="T10" fmla="*/ 0 w 29"/>
                <a:gd name="T1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40">
                  <a:moveTo>
                    <a:pt x="10" y="4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9" y="3"/>
                    <a:pt x="29" y="8"/>
                  </a:cubicBezTo>
                  <a:cubicBezTo>
                    <a:pt x="29" y="13"/>
                    <a:pt x="25" y="17"/>
                    <a:pt x="19" y="17"/>
                  </a:cubicBezTo>
                  <a:cubicBezTo>
                    <a:pt x="0" y="17"/>
                    <a:pt x="0" y="17"/>
                    <a:pt x="0" y="17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66" name="Line 100"/>
            <p:cNvSpPr>
              <a:spLocks noChangeShapeType="1"/>
            </p:cNvSpPr>
            <p:nvPr/>
          </p:nvSpPr>
          <p:spPr bwMode="auto">
            <a:xfrm flipH="1">
              <a:off x="5291138" y="2078038"/>
              <a:ext cx="39688" cy="0"/>
            </a:xfrm>
            <a:prstGeom prst="line">
              <a:avLst/>
            </a:pr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latin typeface="Calibri" charset="0"/>
                <a:ea typeface="Calibri" charset="0"/>
                <a:cs typeface="Calibri" charset="0"/>
              </a:endParaRPr>
            </a:p>
          </p:txBody>
        </p:sp>
      </p:grpSp>
      <p:grpSp>
        <p:nvGrpSpPr>
          <p:cNvPr id="68" name="Группа 67"/>
          <p:cNvGrpSpPr/>
          <p:nvPr/>
        </p:nvGrpSpPr>
        <p:grpSpPr>
          <a:xfrm>
            <a:off x="546266" y="2409477"/>
            <a:ext cx="629650" cy="419843"/>
            <a:chOff x="7348538" y="2614613"/>
            <a:chExt cx="303212" cy="244475"/>
          </a:xfrm>
        </p:grpSpPr>
        <p:sp>
          <p:nvSpPr>
            <p:cNvPr id="70" name="Freeform 22"/>
            <p:cNvSpPr>
              <a:spLocks/>
            </p:cNvSpPr>
            <p:nvPr/>
          </p:nvSpPr>
          <p:spPr bwMode="auto">
            <a:xfrm>
              <a:off x="7348538" y="2662238"/>
              <a:ext cx="303212" cy="196850"/>
            </a:xfrm>
            <a:custGeom>
              <a:avLst/>
              <a:gdLst>
                <a:gd name="T0" fmla="*/ 141 w 141"/>
                <a:gd name="T1" fmla="*/ 0 h 91"/>
                <a:gd name="T2" fmla="*/ 141 w 141"/>
                <a:gd name="T3" fmla="*/ 77 h 91"/>
                <a:gd name="T4" fmla="*/ 84 w 141"/>
                <a:gd name="T5" fmla="*/ 83 h 91"/>
                <a:gd name="T6" fmla="*/ 70 w 141"/>
                <a:gd name="T7" fmla="*/ 91 h 91"/>
                <a:gd name="T8" fmla="*/ 70 w 141"/>
                <a:gd name="T9" fmla="*/ 91 h 91"/>
                <a:gd name="T10" fmla="*/ 56 w 141"/>
                <a:gd name="T11" fmla="*/ 83 h 91"/>
                <a:gd name="T12" fmla="*/ 0 w 141"/>
                <a:gd name="T13" fmla="*/ 77 h 91"/>
                <a:gd name="T14" fmla="*/ 0 w 141"/>
                <a:gd name="T1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91">
                  <a:moveTo>
                    <a:pt x="141" y="0"/>
                  </a:moveTo>
                  <a:cubicBezTo>
                    <a:pt x="141" y="77"/>
                    <a:pt x="141" y="77"/>
                    <a:pt x="141" y="77"/>
                  </a:cubicBezTo>
                  <a:cubicBezTo>
                    <a:pt x="84" y="83"/>
                    <a:pt x="84" y="83"/>
                    <a:pt x="84" y="83"/>
                  </a:cubicBezTo>
                  <a:cubicBezTo>
                    <a:pt x="84" y="83"/>
                    <a:pt x="80" y="91"/>
                    <a:pt x="70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0" y="91"/>
                    <a:pt x="56" y="83"/>
                    <a:pt x="56" y="83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71" name="Freeform 23"/>
            <p:cNvSpPr>
              <a:spLocks/>
            </p:cNvSpPr>
            <p:nvPr/>
          </p:nvSpPr>
          <p:spPr bwMode="auto">
            <a:xfrm>
              <a:off x="7370763" y="2614613"/>
              <a:ext cx="252412" cy="214313"/>
            </a:xfrm>
            <a:custGeom>
              <a:avLst/>
              <a:gdLst>
                <a:gd name="T0" fmla="*/ 58 w 117"/>
                <a:gd name="T1" fmla="*/ 81 h 99"/>
                <a:gd name="T2" fmla="*/ 58 w 117"/>
                <a:gd name="T3" fmla="*/ 14 h 99"/>
                <a:gd name="T4" fmla="*/ 0 w 117"/>
                <a:gd name="T5" fmla="*/ 15 h 99"/>
                <a:gd name="T6" fmla="*/ 0 w 117"/>
                <a:gd name="T7" fmla="*/ 90 h 99"/>
                <a:gd name="T8" fmla="*/ 59 w 117"/>
                <a:gd name="T9" fmla="*/ 99 h 99"/>
                <a:gd name="T10" fmla="*/ 59 w 117"/>
                <a:gd name="T11" fmla="*/ 99 h 99"/>
                <a:gd name="T12" fmla="*/ 117 w 117"/>
                <a:gd name="T13" fmla="*/ 90 h 99"/>
                <a:gd name="T14" fmla="*/ 117 w 117"/>
                <a:gd name="T15" fmla="*/ 15 h 99"/>
                <a:gd name="T16" fmla="*/ 68 w 117"/>
                <a:gd name="T17" fmla="*/ 1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99">
                  <a:moveTo>
                    <a:pt x="58" y="81"/>
                  </a:moveTo>
                  <a:cubicBezTo>
                    <a:pt x="58" y="81"/>
                    <a:pt x="58" y="43"/>
                    <a:pt x="58" y="14"/>
                  </a:cubicBezTo>
                  <a:cubicBezTo>
                    <a:pt x="39" y="0"/>
                    <a:pt x="0" y="15"/>
                    <a:pt x="0" y="15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46" y="80"/>
                    <a:pt x="59" y="99"/>
                  </a:cubicBezTo>
                  <a:cubicBezTo>
                    <a:pt x="59" y="99"/>
                    <a:pt x="59" y="99"/>
                    <a:pt x="59" y="99"/>
                  </a:cubicBezTo>
                  <a:cubicBezTo>
                    <a:pt x="71" y="80"/>
                    <a:pt x="117" y="90"/>
                    <a:pt x="117" y="90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17" y="15"/>
                    <a:pt x="86" y="1"/>
                    <a:pt x="68" y="10"/>
                  </a:cubicBezTo>
                </a:path>
              </a:pathLst>
            </a:custGeom>
            <a:noFill/>
            <a:ln w="15875" cap="rnd">
              <a:solidFill>
                <a:srgbClr val="00BBE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latin typeface="Calibri" charset="0"/>
                <a:ea typeface="Calibri" charset="0"/>
                <a:cs typeface="Calibri" charset="0"/>
              </a:endParaRPr>
            </a:p>
          </p:txBody>
        </p:sp>
      </p:grpSp>
      <p:pic>
        <p:nvPicPr>
          <p:cNvPr id="14336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6713" y="810425"/>
            <a:ext cx="3600000" cy="5331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9871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3988" y="307364"/>
            <a:ext cx="11300781" cy="4401205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2"/>
                </a:solidFill>
              </a:rPr>
              <a:t/>
            </a:r>
            <a:br>
              <a:rPr lang="ru-RU" sz="1800" b="1" dirty="0" smtClean="0">
                <a:solidFill>
                  <a:schemeClr val="tx2"/>
                </a:solidFill>
              </a:rPr>
            </a:br>
            <a:r>
              <a:rPr lang="ru-RU" sz="1800" b="1" dirty="0" smtClean="0">
                <a:solidFill>
                  <a:schemeClr val="tx2"/>
                </a:solidFill>
              </a:rPr>
              <a:t>БАНКОВСКИЕ  ГАРАНТИИ</a:t>
            </a:r>
            <a:r>
              <a:rPr lang="ru-RU" sz="1800" b="1" dirty="0">
                <a:solidFill>
                  <a:schemeClr val="tx2"/>
                </a:solidFill>
              </a:rPr>
              <a:t/>
            </a:r>
            <a:br>
              <a:rPr lang="ru-RU" sz="1800" b="1" dirty="0">
                <a:solidFill>
                  <a:schemeClr val="tx2"/>
                </a:solidFill>
              </a:rPr>
            </a:br>
            <a:r>
              <a:rPr lang="ru-RU" sz="1800" b="1" dirty="0" smtClean="0">
                <a:solidFill>
                  <a:schemeClr val="tx2"/>
                </a:solidFill>
              </a:rPr>
              <a:t/>
            </a:r>
            <a:br>
              <a:rPr lang="ru-RU" sz="1800" b="1" dirty="0" smtClean="0">
                <a:solidFill>
                  <a:schemeClr val="tx2"/>
                </a:solidFill>
              </a:rPr>
            </a:br>
            <a:r>
              <a:rPr lang="ru-RU" sz="1400" b="1" dirty="0" smtClean="0">
                <a:solidFill>
                  <a:schemeClr val="tx2"/>
                </a:solidFill>
              </a:rPr>
              <a:t>ПРОЦЕНТНАЯ СТАВКА – ОТ 0,9%</a:t>
            </a:r>
            <a:br>
              <a:rPr lang="ru-RU" sz="1400" b="1" dirty="0" smtClean="0">
                <a:solidFill>
                  <a:schemeClr val="tx2"/>
                </a:solidFill>
              </a:rPr>
            </a:br>
            <a:r>
              <a:rPr lang="ru-RU" sz="1400" b="1" dirty="0">
                <a:solidFill>
                  <a:schemeClr val="tx2"/>
                </a:solidFill>
              </a:rPr>
              <a:t/>
            </a:r>
            <a:br>
              <a:rPr lang="ru-RU" sz="1400" b="1" dirty="0">
                <a:solidFill>
                  <a:schemeClr val="tx2"/>
                </a:solidFill>
              </a:rPr>
            </a:br>
            <a:r>
              <a:rPr lang="ru-RU" sz="1400" b="1" dirty="0" smtClean="0">
                <a:solidFill>
                  <a:schemeClr val="tx2"/>
                </a:solidFill>
              </a:rPr>
              <a:t>СРОКИ – ДО 5 ЛЕТ</a:t>
            </a:r>
            <a:br>
              <a:rPr lang="ru-RU" sz="1400" b="1" dirty="0" smtClean="0">
                <a:solidFill>
                  <a:schemeClr val="tx2"/>
                </a:solidFill>
              </a:rPr>
            </a:br>
            <a:r>
              <a:rPr lang="ru-RU" sz="1400" b="1" dirty="0">
                <a:solidFill>
                  <a:schemeClr val="tx2"/>
                </a:solidFill>
              </a:rPr>
              <a:t/>
            </a:r>
            <a:br>
              <a:rPr lang="ru-RU" sz="1400" b="1" dirty="0">
                <a:solidFill>
                  <a:schemeClr val="tx2"/>
                </a:solidFill>
              </a:rPr>
            </a:br>
            <a:r>
              <a:rPr lang="ru-RU" sz="1400" b="1" dirty="0" smtClean="0">
                <a:solidFill>
                  <a:schemeClr val="tx2"/>
                </a:solidFill>
              </a:rPr>
              <a:t>СРОКИ ПО ПРОГРАММЕ  ФОНДА МОНОГОРОДОВ – ДО 10 ЛЕТ</a:t>
            </a:r>
            <a:br>
              <a:rPr lang="ru-RU" sz="1400" b="1" dirty="0" smtClean="0">
                <a:solidFill>
                  <a:schemeClr val="tx2"/>
                </a:solidFill>
              </a:rPr>
            </a:br>
            <a:r>
              <a:rPr lang="ru-RU" sz="1400" b="1" dirty="0">
                <a:solidFill>
                  <a:schemeClr val="tx2"/>
                </a:solidFill>
              </a:rPr>
              <a:t/>
            </a:r>
            <a:br>
              <a:rPr lang="ru-RU" sz="1400" b="1" dirty="0">
                <a:solidFill>
                  <a:schemeClr val="tx2"/>
                </a:solidFill>
              </a:rPr>
            </a:br>
            <a:r>
              <a:rPr lang="ru-RU" sz="1400" b="1" dirty="0" smtClean="0">
                <a:solidFill>
                  <a:schemeClr val="tx2"/>
                </a:solidFill>
              </a:rPr>
              <a:t>БЕЗ ОБЕСПЕЧЕНИЯ – ДО 200 000 000 РУБЛЕЙ</a:t>
            </a:r>
            <a:br>
              <a:rPr lang="ru-RU" sz="1400" b="1" dirty="0" smtClean="0">
                <a:solidFill>
                  <a:schemeClr val="tx2"/>
                </a:solidFill>
              </a:rPr>
            </a:br>
            <a:r>
              <a:rPr lang="ru-RU" sz="1400" b="1" dirty="0">
                <a:solidFill>
                  <a:schemeClr val="tx2"/>
                </a:solidFill>
              </a:rPr>
              <a:t/>
            </a:r>
            <a:br>
              <a:rPr lang="ru-RU" sz="1400" b="1" dirty="0">
                <a:solidFill>
                  <a:schemeClr val="tx2"/>
                </a:solidFill>
              </a:rPr>
            </a:br>
            <a:r>
              <a:rPr lang="ru-RU" sz="1400" b="1" dirty="0" smtClean="0">
                <a:solidFill>
                  <a:schemeClr val="tx2"/>
                </a:solidFill>
              </a:rPr>
              <a:t/>
            </a:r>
            <a:br>
              <a:rPr lang="ru-RU" sz="1400" b="1" dirty="0" smtClean="0">
                <a:solidFill>
                  <a:schemeClr val="tx2"/>
                </a:solidFill>
              </a:rPr>
            </a:br>
            <a:r>
              <a:rPr lang="ru-RU" sz="1400" b="1" dirty="0" smtClean="0">
                <a:solidFill>
                  <a:schemeClr val="tx2"/>
                </a:solidFill>
              </a:rPr>
              <a:t>Виды банковских гарантий:</a:t>
            </a:r>
            <a:br>
              <a:rPr lang="ru-RU" sz="1400" b="1" dirty="0" smtClean="0">
                <a:solidFill>
                  <a:schemeClr val="tx2"/>
                </a:solidFill>
              </a:rPr>
            </a:br>
            <a:r>
              <a:rPr lang="ru-RU" sz="1400" b="1" dirty="0" smtClean="0">
                <a:solidFill>
                  <a:schemeClr val="tx2"/>
                </a:solidFill>
              </a:rPr>
              <a:t>- </a:t>
            </a:r>
            <a:r>
              <a:rPr lang="ru-RU" sz="1200" b="1" dirty="0" smtClean="0">
                <a:solidFill>
                  <a:schemeClr val="tx2"/>
                </a:solidFill>
              </a:rPr>
              <a:t>гарантия возврат авансового платежа</a:t>
            </a:r>
            <a:br>
              <a:rPr lang="ru-RU" sz="1200" b="1" dirty="0" smtClean="0">
                <a:solidFill>
                  <a:schemeClr val="tx2"/>
                </a:solidFill>
              </a:rPr>
            </a:br>
            <a:r>
              <a:rPr lang="ru-RU" sz="1200" b="1" dirty="0" smtClean="0">
                <a:solidFill>
                  <a:schemeClr val="tx2"/>
                </a:solidFill>
              </a:rPr>
              <a:t>-  гарантия   платежа </a:t>
            </a:r>
            <a:br>
              <a:rPr lang="ru-RU" sz="1200" b="1" dirty="0" smtClean="0">
                <a:solidFill>
                  <a:schemeClr val="tx2"/>
                </a:solidFill>
              </a:rPr>
            </a:br>
            <a:r>
              <a:rPr lang="ru-RU" sz="1200" b="1" dirty="0" smtClean="0">
                <a:solidFill>
                  <a:schemeClr val="tx2"/>
                </a:solidFill>
              </a:rPr>
              <a:t>- гарантия на участие в конкурсе/аукционе</a:t>
            </a:r>
            <a:br>
              <a:rPr lang="ru-RU" sz="1200" b="1" dirty="0" smtClean="0">
                <a:solidFill>
                  <a:schemeClr val="tx2"/>
                </a:solidFill>
              </a:rPr>
            </a:br>
            <a:r>
              <a:rPr lang="ru-RU" sz="1200" b="1" dirty="0" smtClean="0">
                <a:solidFill>
                  <a:schemeClr val="tx2"/>
                </a:solidFill>
              </a:rPr>
              <a:t>- гарантия уплаты арендных платежей</a:t>
            </a:r>
            <a:br>
              <a:rPr lang="ru-RU" sz="1200" b="1" dirty="0" smtClean="0">
                <a:solidFill>
                  <a:schemeClr val="tx2"/>
                </a:solidFill>
              </a:rPr>
            </a:br>
            <a:r>
              <a:rPr lang="ru-RU" sz="1200" b="1" dirty="0" smtClean="0">
                <a:solidFill>
                  <a:schemeClr val="tx2"/>
                </a:solidFill>
              </a:rPr>
              <a:t>- гарантия в пользу таможенных органов РФ</a:t>
            </a:r>
            <a:br>
              <a:rPr lang="ru-RU" sz="1200" b="1" dirty="0" smtClean="0">
                <a:solidFill>
                  <a:schemeClr val="tx2"/>
                </a:solidFill>
              </a:rPr>
            </a:br>
            <a:r>
              <a:rPr lang="ru-RU" sz="1200" b="1" dirty="0" smtClean="0">
                <a:solidFill>
                  <a:schemeClr val="tx2"/>
                </a:solidFill>
              </a:rPr>
              <a:t>- гарантия   исполнения  контракта  (в  том числе  Госзаказов По 44-ФЗ, 223-ФЗ)</a:t>
            </a:r>
            <a:br>
              <a:rPr lang="ru-RU" sz="1200" b="1" dirty="0" smtClean="0">
                <a:solidFill>
                  <a:schemeClr val="tx2"/>
                </a:solidFill>
              </a:rPr>
            </a:br>
            <a:endParaRPr lang="ru-RU" sz="1800" b="1" dirty="0">
              <a:solidFill>
                <a:schemeClr val="tx2"/>
              </a:solidFill>
            </a:endParaRPr>
          </a:p>
        </p:txBody>
      </p:sp>
      <p:pic>
        <p:nvPicPr>
          <p:cNvPr id="14233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8213" y="241301"/>
            <a:ext cx="3600000" cy="601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77424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/>
          <p:nvPr/>
        </p:nvSpPr>
        <p:spPr>
          <a:xfrm>
            <a:off x="1691548" y="5274782"/>
            <a:ext cx="56295" cy="658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801632"/>
            <a:endParaRPr sz="1430">
              <a:solidFill>
                <a:prstClr val="black"/>
              </a:solidFill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655667" y="38915"/>
            <a:ext cx="10512256" cy="641912"/>
          </a:xfrm>
          <a:prstGeom prst="rect">
            <a:avLst/>
          </a:prstGeom>
          <a:noFill/>
          <a:extLst/>
        </p:spPr>
        <p:txBody>
          <a:bodyPr vert="horz" lIns="0" tIns="0" rIns="0" bIns="0" rtlCol="0" anchor="t">
            <a:noAutofit/>
          </a:bodyPr>
          <a:lstStyle/>
          <a:p>
            <a:pPr defTabSz="520924">
              <a:spcBef>
                <a:spcPct val="0"/>
              </a:spcBef>
            </a:pPr>
            <a:r>
              <a:rPr lang="ru-RU" sz="1800" b="1" cap="all" dirty="0">
                <a:solidFill>
                  <a:srgbClr val="00BBE4"/>
                </a:solidFill>
                <a:latin typeface="Whitney Book" charset="0"/>
                <a:ea typeface="Whitney Book" charset="0"/>
                <a:cs typeface="Whitney Book" charset="0"/>
              </a:rPr>
              <a:t/>
            </a:r>
            <a:br>
              <a:rPr lang="ru-RU" sz="1800" b="1" cap="all" dirty="0">
                <a:solidFill>
                  <a:srgbClr val="00BBE4"/>
                </a:solidFill>
                <a:latin typeface="Whitney Book" charset="0"/>
                <a:ea typeface="Whitney Book" charset="0"/>
                <a:cs typeface="Whitney Book" charset="0"/>
              </a:rPr>
            </a:br>
            <a:r>
              <a:rPr lang="ru-RU" b="1" cap="all" dirty="0" smtClean="0">
                <a:solidFill>
                  <a:srgbClr val="00BBE4"/>
                </a:solidFill>
                <a:latin typeface="Whitney Book" charset="0"/>
                <a:ea typeface="Whitney Book" charset="0"/>
                <a:cs typeface="Whitney Book" charset="0"/>
              </a:rPr>
              <a:t>основные КОНТАКТЫ банка в</a:t>
            </a:r>
            <a:r>
              <a:rPr lang="en-US" sz="1800" b="1" cap="all" dirty="0" smtClean="0">
                <a:solidFill>
                  <a:srgbClr val="00BBE4"/>
                </a:solidFill>
                <a:latin typeface="Whitney Book" charset="0"/>
                <a:ea typeface="Whitney Book" charset="0"/>
                <a:cs typeface="Whitney Book" charset="0"/>
              </a:rPr>
              <a:t> </a:t>
            </a:r>
            <a:r>
              <a:rPr lang="ru-RU" sz="1800" b="1" cap="all" dirty="0" smtClean="0">
                <a:solidFill>
                  <a:srgbClr val="00BBE4"/>
                </a:solidFill>
                <a:latin typeface="Whitney Book" charset="0"/>
                <a:ea typeface="Whitney Book" charset="0"/>
                <a:cs typeface="Whitney Book" charset="0"/>
              </a:rPr>
              <a:t>ТОМСКОЙ  </a:t>
            </a:r>
            <a:r>
              <a:rPr lang="ru-RU" sz="1800" b="1" cap="all" dirty="0" smtClean="0">
                <a:solidFill>
                  <a:srgbClr val="00BBE4"/>
                </a:solidFill>
                <a:latin typeface="Whitney Book" charset="0"/>
                <a:ea typeface="Whitney Book" charset="0"/>
                <a:cs typeface="Whitney Book" charset="0"/>
              </a:rPr>
              <a:t>области</a:t>
            </a:r>
            <a:endParaRPr lang="ru-RU" sz="1800" b="1" cap="all" dirty="0">
              <a:solidFill>
                <a:srgbClr val="00BBE4"/>
              </a:solidFill>
              <a:latin typeface="Whitney Book" charset="0"/>
              <a:ea typeface="Whitney Book" charset="0"/>
              <a:cs typeface="Whitney Book" charset="0"/>
            </a:endParaRPr>
          </a:p>
        </p:txBody>
      </p:sp>
      <p:sp>
        <p:nvSpPr>
          <p:cNvPr id="127" name="Прямоугольник 126"/>
          <p:cNvSpPr/>
          <p:nvPr/>
        </p:nvSpPr>
        <p:spPr>
          <a:xfrm>
            <a:off x="584032" y="4431043"/>
            <a:ext cx="2806630" cy="1798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08862">
              <a:spcBef>
                <a:spcPts val="351"/>
              </a:spcBef>
              <a:spcAft>
                <a:spcPts val="351"/>
              </a:spcAft>
            </a:pPr>
            <a:r>
              <a:rPr lang="ru-RU" sz="1636" dirty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Управляющий </a:t>
            </a:r>
            <a:r>
              <a:rPr lang="ru-RU" sz="1636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РОО ТОМСКИЙ</a:t>
            </a:r>
            <a:endParaRPr lang="ru-RU" sz="1636" dirty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 defTabSz="608862"/>
            <a:r>
              <a:rPr lang="ru-RU" sz="1636" b="1" dirty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  </a:t>
            </a:r>
            <a:r>
              <a:rPr lang="ru-RU" sz="1636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Гребнева</a:t>
            </a:r>
          </a:p>
          <a:p>
            <a:pPr algn="ctr" defTabSz="608862"/>
            <a:r>
              <a:rPr lang="ru-RU" sz="1636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Олеся </a:t>
            </a:r>
            <a:r>
              <a:rPr lang="ru-RU" sz="1636" b="1" dirty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В</a:t>
            </a:r>
            <a:r>
              <a:rPr lang="ru-RU" sz="1636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алентиновна</a:t>
            </a:r>
            <a:endParaRPr lang="ru-RU" sz="1636" b="1" dirty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/>
            <a:endParaRPr lang="ru-RU" sz="1052" b="1" dirty="0" smtClean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/>
            <a:r>
              <a:rPr lang="ru-RU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г</a:t>
            </a:r>
            <a:r>
              <a:rPr lang="ru-RU" sz="1052" b="1" dirty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. Т</a:t>
            </a:r>
            <a:r>
              <a:rPr lang="ru-RU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омск,  ул. Никитина 89а</a:t>
            </a:r>
            <a:endParaRPr lang="ru-RU" sz="1052" b="1" dirty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/>
            <a:r>
              <a:rPr lang="en-US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  <a:hlinkClick r:id="rId3"/>
              </a:rPr>
              <a:t>Grebneva_</a:t>
            </a:r>
            <a:r>
              <a:rPr lang="en-US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  <a:hlinkClick r:id="rId3"/>
              </a:rPr>
              <a:t>OV</a:t>
            </a:r>
            <a:r>
              <a:rPr lang="en-US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  <a:hlinkClick r:id="rId3"/>
              </a:rPr>
              <a:t>@open.ru</a:t>
            </a:r>
            <a:endParaRPr lang="ru-RU" sz="1052" b="1" dirty="0" smtClean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/>
            <a:r>
              <a:rPr lang="en-US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8 </a:t>
            </a:r>
            <a:r>
              <a:rPr lang="ru-RU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909 538 30 09</a:t>
            </a:r>
            <a:endParaRPr lang="ru-RU" sz="1052" b="1" dirty="0" smtClean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220824" y="4431043"/>
            <a:ext cx="3730232" cy="1798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08862">
              <a:spcBef>
                <a:spcPts val="351"/>
              </a:spcBef>
              <a:spcAft>
                <a:spcPts val="351"/>
              </a:spcAft>
            </a:pPr>
            <a:r>
              <a:rPr lang="ru-RU" sz="1636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Заместитель управляющего</a:t>
            </a:r>
            <a:br>
              <a:rPr lang="ru-RU" sz="1636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</a:br>
            <a:r>
              <a:rPr lang="ru-RU" sz="1636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по МСБ</a:t>
            </a:r>
            <a:endParaRPr lang="ru-RU" sz="1636" dirty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 defTabSz="608862"/>
            <a:r>
              <a:rPr lang="ru-RU" sz="1636" b="1" dirty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  </a:t>
            </a:r>
            <a:r>
              <a:rPr lang="ru-RU" sz="1636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Мозголина</a:t>
            </a:r>
          </a:p>
          <a:p>
            <a:pPr algn="ctr" defTabSz="608862"/>
            <a:r>
              <a:rPr lang="ru-RU" sz="1636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Елена Борисовна</a:t>
            </a:r>
            <a:endParaRPr lang="ru-RU" sz="1636" b="1" dirty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/>
            <a:endParaRPr lang="ru-RU" sz="1052" b="1" dirty="0" smtClean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/>
            <a:r>
              <a:rPr lang="ru-RU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г</a:t>
            </a:r>
            <a:r>
              <a:rPr lang="ru-RU" sz="1052" b="1" dirty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. </a:t>
            </a:r>
            <a:r>
              <a:rPr lang="ru-RU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Томск, </a:t>
            </a:r>
            <a:r>
              <a:rPr lang="ru-RU" sz="1052" b="1" dirty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ул. </a:t>
            </a:r>
            <a:r>
              <a:rPr lang="ru-RU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 Никитина 89а</a:t>
            </a:r>
          </a:p>
          <a:p>
            <a:pPr algn="ctr"/>
            <a:r>
              <a:rPr lang="en-US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  <a:hlinkClick r:id="rId4"/>
              </a:rPr>
              <a:t>Elena.mozgolina@open.ru</a:t>
            </a:r>
            <a:endParaRPr lang="ru-RU" sz="1052" b="1" dirty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/>
            <a:r>
              <a:rPr lang="en-US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8 913 827 49 51</a:t>
            </a:r>
            <a:endParaRPr lang="ru-RU" sz="1052" b="1" dirty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</p:txBody>
      </p:sp>
      <p:sp>
        <p:nvSpPr>
          <p:cNvPr id="9" name="Номер слайда 1"/>
          <p:cNvSpPr txBox="1">
            <a:spLocks/>
          </p:cNvSpPr>
          <p:nvPr/>
        </p:nvSpPr>
        <p:spPr>
          <a:xfrm>
            <a:off x="11412507" y="6503013"/>
            <a:ext cx="617182" cy="179210"/>
          </a:xfrm>
          <a:prstGeom prst="rect">
            <a:avLst/>
          </a:prstGeom>
          <a:solidFill>
            <a:schemeClr val="bg1"/>
          </a:solidFill>
          <a:extLst/>
        </p:spPr>
        <p:txBody>
          <a:bodyPr/>
          <a:lstStyle>
            <a:defPPr>
              <a:defRPr lang="ru-RU"/>
            </a:defPPr>
            <a:lvl1pPr marL="0" algn="r" defTabSz="1672775" rtl="0" eaLnBrk="1" latinLnBrk="0" hangingPunct="1">
              <a:spcBef>
                <a:spcPct val="20000"/>
              </a:spcBef>
              <a:buChar char="•"/>
              <a:defRPr lang="ru-RU" sz="3200" b="0" kern="1200">
                <a:solidFill>
                  <a:srgbClr val="666666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1672775" rtl="0" eaLnBrk="1" latinLnBrk="0" hangingPunct="1">
              <a:spcBef>
                <a:spcPct val="20000"/>
              </a:spcBef>
              <a:buChar char="–"/>
              <a:defRPr sz="1400" kern="1200">
                <a:solidFill>
                  <a:srgbClr val="666666"/>
                </a:solidFill>
                <a:latin typeface="Arial" charset="0"/>
                <a:ea typeface="+mn-ea"/>
                <a:cs typeface="+mn-cs"/>
              </a:defRPr>
            </a:lvl2pPr>
            <a:lvl3pPr marL="1143000" indent="-228600" algn="l" defTabSz="1672775" rtl="0" eaLnBrk="1" latinLnBrk="0" hangingPunct="1">
              <a:spcBef>
                <a:spcPct val="20000"/>
              </a:spcBef>
              <a:buChar char="•"/>
              <a:defRPr sz="23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00200" indent="-228600" algn="l" defTabSz="1672775" rtl="0" eaLnBrk="1" latinLnBrk="0" hangingPunct="1">
              <a:spcBef>
                <a:spcPct val="20000"/>
              </a:spcBef>
              <a:buChar char="–"/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defTabSz="1672775" rtl="0" eaLnBrk="1" latinLnBrk="0" hangingPunct="1">
              <a:spcBef>
                <a:spcPct val="20000"/>
              </a:spcBef>
              <a:buChar char="»"/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1672775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971800" indent="-228600" algn="l" defTabSz="1672775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429000" indent="-228600" algn="l" defTabSz="1672775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886200" indent="-228600" algn="l" defTabSz="1672775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050" dirty="0" smtClean="0">
                <a:solidFill>
                  <a:srgbClr val="999999"/>
                </a:solidFill>
              </a:rPr>
              <a:t>14</a:t>
            </a:r>
            <a:endParaRPr lang="ru-RU" altLang="ru-RU" sz="1050" dirty="0">
              <a:solidFill>
                <a:srgbClr val="999999"/>
              </a:solidFill>
            </a:endParaRPr>
          </a:p>
        </p:txBody>
      </p:sp>
      <p:pic>
        <p:nvPicPr>
          <p:cNvPr id="74754" name="Рисунок 1" descr="image00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0" y="876255"/>
            <a:ext cx="2070100" cy="271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1628" y="876255"/>
            <a:ext cx="2615203" cy="2719656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8360277" y="4459484"/>
            <a:ext cx="3730232" cy="1798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08862">
              <a:spcBef>
                <a:spcPts val="351"/>
              </a:spcBef>
              <a:spcAft>
                <a:spcPts val="351"/>
              </a:spcAft>
            </a:pPr>
            <a:r>
              <a:rPr lang="ru-RU" sz="1636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Начальник отдела привлечения и развития клиентов МСБ</a:t>
            </a:r>
            <a:endParaRPr lang="ru-RU" sz="1636" dirty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 defTabSz="608862"/>
            <a:r>
              <a:rPr lang="ru-RU" sz="1636" b="1" dirty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  </a:t>
            </a:r>
            <a:r>
              <a:rPr lang="ru-RU" sz="1636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Парпура </a:t>
            </a:r>
          </a:p>
          <a:p>
            <a:pPr algn="ctr" defTabSz="608862"/>
            <a:r>
              <a:rPr lang="ru-RU" sz="1636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Игорь Александрович</a:t>
            </a:r>
            <a:endParaRPr lang="ru-RU" sz="1636" b="1" dirty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/>
            <a:endParaRPr lang="ru-RU" sz="1052" b="1" dirty="0" smtClean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/>
            <a:r>
              <a:rPr lang="ru-RU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г</a:t>
            </a:r>
            <a:r>
              <a:rPr lang="ru-RU" sz="1052" b="1" dirty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. </a:t>
            </a:r>
            <a:r>
              <a:rPr lang="ru-RU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Томск, </a:t>
            </a:r>
            <a:r>
              <a:rPr lang="ru-RU" sz="1052" b="1" dirty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ул. </a:t>
            </a:r>
            <a:r>
              <a:rPr lang="ru-RU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 Никитина 89а</a:t>
            </a:r>
          </a:p>
          <a:p>
            <a:pPr algn="ctr"/>
            <a:r>
              <a:rPr lang="en-US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  <a:hlinkClick r:id="rId7"/>
              </a:rPr>
              <a:t>Parpura_IA@open.ru</a:t>
            </a:r>
            <a:endParaRPr lang="ru-RU" sz="1052" b="1" dirty="0" smtClean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  <a:p>
            <a:pPr algn="ctr"/>
            <a:r>
              <a:rPr lang="en-US" sz="1052" b="1" dirty="0" smtClean="0">
                <a:solidFill>
                  <a:schemeClr val="accent6"/>
                </a:solidFill>
                <a:latin typeface="Whitney Book" pitchFamily="50" charset="0"/>
                <a:cs typeface="Whitney Book" pitchFamily="50" charset="0"/>
              </a:rPr>
              <a:t>8 913 848 07 73</a:t>
            </a:r>
            <a:endParaRPr lang="ru-RU" sz="1052" b="1" dirty="0">
              <a:solidFill>
                <a:schemeClr val="accent6"/>
              </a:solidFill>
              <a:latin typeface="Whitney Book" pitchFamily="50" charset="0"/>
              <a:cs typeface="Whitney Book" pitchFamily="50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55100" y="876256"/>
            <a:ext cx="2235200" cy="2718851"/>
          </a:xfrm>
          <a:prstGeom prst="rect">
            <a:avLst/>
          </a:prstGeom>
        </p:spPr>
      </p:pic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1629" y="680827"/>
            <a:ext cx="2747072" cy="3264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5410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200" y="680827"/>
            <a:ext cx="2657862" cy="32644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Рисунок 12"/>
          <p:cNvPicPr/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1100" y="680827"/>
            <a:ext cx="2681394" cy="32644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0886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75302" y="269262"/>
            <a:ext cx="8814106" cy="2807500"/>
          </a:xfrm>
        </p:spPr>
        <p:txBody>
          <a:bodyPr/>
          <a:lstStyle/>
          <a:p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                   </a:t>
            </a:r>
            <a:r>
              <a:rPr lang="ru-RU" sz="3600" b="1" dirty="0" smtClean="0">
                <a:solidFill>
                  <a:schemeClr val="tx2"/>
                </a:solidFill>
              </a:rPr>
              <a:t>СПАСИБО   ЗА   ВНИМАНИЕ!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4143718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MM3RtURzm4TIx9NkIp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MM3RtURzm4TIx9NkIp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MM3RtURzm4TIx9NkIp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MM3RtURzm4TIx9NkIpc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.8gLfaB0mc_4Y5n_e7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UoPkvtQGidqZnMaqk1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MM3RtURzm4TIx9NkIp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Открытие">
  <a:themeElements>
    <a:clrScheme name="Цвет 2">
      <a:dk1>
        <a:srgbClr val="000000"/>
      </a:dk1>
      <a:lt1>
        <a:srgbClr val="FFFFFF"/>
      </a:lt1>
      <a:dk2>
        <a:srgbClr val="0071BC"/>
      </a:dk2>
      <a:lt2>
        <a:srgbClr val="00BBE3"/>
      </a:lt2>
      <a:accent1>
        <a:srgbClr val="DCDDE7"/>
      </a:accent1>
      <a:accent2>
        <a:srgbClr val="7D838C"/>
      </a:accent2>
      <a:accent3>
        <a:srgbClr val="273C4E"/>
      </a:accent3>
      <a:accent4>
        <a:srgbClr val="87F6FF"/>
      </a:accent4>
      <a:accent5>
        <a:srgbClr val="0071BC"/>
      </a:accent5>
      <a:accent6>
        <a:srgbClr val="158864"/>
      </a:accent6>
      <a:hlink>
        <a:srgbClr val="2B3643"/>
      </a:hlink>
      <a:folHlink>
        <a:srgbClr val="00BBE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chemeClr val="accent4">
              <a:lumMod val="60000"/>
              <a:lumOff val="40000"/>
            </a:schemeClr>
          </a:solidFill>
        </a:ln>
      </a:spPr>
      <a:bodyPr spcFirstLastPara="0" vert="horz" wrap="square" lIns="219976" tIns="0" rIns="219976" bIns="0" numCol="1" spcCol="972000" rtlCol="0" anchor="ctr" anchorCtr="0">
        <a:noAutofit/>
      </a:bodyPr>
      <a:lstStyle>
        <a:defPPr marL="0" algn="ctr" defTabSz="1111250">
          <a:spcBef>
            <a:spcPct val="0"/>
          </a:spcBef>
          <a:defRPr sz="1800" b="1" dirty="0" smtClean="0">
            <a:solidFill>
              <a:schemeClr val="tx1">
                <a:lumMod val="65000"/>
                <a:lumOff val="35000"/>
              </a:schemeClr>
            </a:solidFill>
            <a:latin typeface="Whitney Book" charset="0"/>
            <a:ea typeface="Whitney Book" charset="0"/>
            <a:cs typeface="Whitney Book" charset="0"/>
          </a:defRPr>
        </a:defPPr>
      </a:lstStyle>
      <a:style>
        <a:lnRef idx="2">
          <a:schemeClr val="accent1">
            <a:hueOff val="0"/>
            <a:satOff val="0"/>
            <a:lumOff val="0"/>
            <a:alphaOff val="0"/>
          </a:schemeClr>
        </a:lnRef>
        <a:fillRef idx="1">
          <a:schemeClr val="lt1">
            <a:alpha val="90000"/>
            <a:hueOff val="0"/>
            <a:satOff val="0"/>
            <a:lumOff val="0"/>
            <a:alphaOff val="0"/>
          </a:schemeClr>
        </a:fillRef>
        <a:effectRef idx="0">
          <a:schemeClr val="lt1">
            <a:alpha val="90000"/>
            <a:hueOff val="0"/>
            <a:satOff val="0"/>
            <a:lumOff val="0"/>
            <a:alphaOff val="0"/>
          </a:schemeClr>
        </a:effectRef>
        <a:fontRef idx="minor">
          <a:schemeClr val="dk1">
            <a:hueOff val="0"/>
            <a:satOff val="0"/>
            <a:lumOff val="0"/>
            <a:alphaOff val="0"/>
          </a:schemeClr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="" xmlns:thm15="http://schemas.microsoft.com/office/thememl/2012/main" name="шаблон Открытие_PrivateBanking" id="{A36729DD-62F8-DA43-AD29-9158A9F62A4E}" vid="{4E953006-7008-5743-8064-7B1063CF1FB0}"/>
    </a:ext>
  </a:extLst>
</a:theme>
</file>

<file path=ppt/theme/theme2.xml><?xml version="1.0" encoding="utf-8"?>
<a:theme xmlns:a="http://schemas.openxmlformats.org/drawingml/2006/main" name="Открытие">
  <a:themeElements>
    <a:clrScheme name="Цвет 2">
      <a:dk1>
        <a:srgbClr val="000000"/>
      </a:dk1>
      <a:lt1>
        <a:srgbClr val="FFFFFF"/>
      </a:lt1>
      <a:dk2>
        <a:srgbClr val="0071BC"/>
      </a:dk2>
      <a:lt2>
        <a:srgbClr val="00BBE3"/>
      </a:lt2>
      <a:accent1>
        <a:srgbClr val="DCDDE7"/>
      </a:accent1>
      <a:accent2>
        <a:srgbClr val="7D838C"/>
      </a:accent2>
      <a:accent3>
        <a:srgbClr val="273C4E"/>
      </a:accent3>
      <a:accent4>
        <a:srgbClr val="87F6FF"/>
      </a:accent4>
      <a:accent5>
        <a:srgbClr val="0071BC"/>
      </a:accent5>
      <a:accent6>
        <a:srgbClr val="158864"/>
      </a:accent6>
      <a:hlink>
        <a:srgbClr val="2B3643"/>
      </a:hlink>
      <a:folHlink>
        <a:srgbClr val="00BBE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="" xmlns:thm15="http://schemas.microsoft.com/office/thememl/2012/main" name="шаблон Открытие_PrivateBanking" id="{A36729DD-62F8-DA43-AD29-9158A9F62A4E}" vid="{4E953006-7008-5743-8064-7B1063CF1FB0}"/>
    </a:ext>
  </a:extLst>
</a:theme>
</file>

<file path=ppt/theme/theme3.xml><?xml version="1.0" encoding="utf-8"?>
<a:theme xmlns:a="http://schemas.openxmlformats.org/drawingml/2006/main" name="3_Firm Format - template_Blue">
  <a:themeElements>
    <a:clrScheme name="Otkritie">
      <a:dk1>
        <a:srgbClr val="58595B"/>
      </a:dk1>
      <a:lt1>
        <a:srgbClr val="FFFFFF"/>
      </a:lt1>
      <a:dk2>
        <a:srgbClr val="00BBE4"/>
      </a:dk2>
      <a:lt2>
        <a:srgbClr val="E5F8FC"/>
      </a:lt2>
      <a:accent1>
        <a:srgbClr val="00BBE4"/>
      </a:accent1>
      <a:accent2>
        <a:srgbClr val="DEDEDE"/>
      </a:accent2>
      <a:accent3>
        <a:srgbClr val="9B9B9D"/>
      </a:accent3>
      <a:accent4>
        <a:srgbClr val="797A7C"/>
      </a:accent4>
      <a:accent5>
        <a:srgbClr val="00BBE4"/>
      </a:accent5>
      <a:accent6>
        <a:srgbClr val="3F3F3F"/>
      </a:accent6>
      <a:hlink>
        <a:srgbClr val="58595B"/>
      </a:hlink>
      <a:folHlink>
        <a:srgbClr val="00BBE3"/>
      </a:folHlink>
    </a:clrScheme>
    <a:fontScheme name="Custom 2">
      <a:majorFont>
        <a:latin typeface="Whitney Book"/>
        <a:ea typeface=""/>
        <a:cs typeface=""/>
      </a:majorFont>
      <a:minorFont>
        <a:latin typeface="Whitney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BE4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solidFill>
              <a:srgbClr val="58595B"/>
            </a:solidFill>
            <a:latin typeface="+mn-lt"/>
          </a:defRPr>
        </a:defPPr>
      </a:lstStyle>
    </a:tx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Открытие New Template 2018.potx" id="{0D9BEE3E-C48C-4FD0-9BB9-D73EBAE251F8}" vid="{B5179B2F-7303-4742-9BBA-E39885FB7336}"/>
    </a:ext>
  </a:extLst>
</a:theme>
</file>

<file path=ppt/theme/theme4.xml><?xml version="1.0" encoding="utf-8"?>
<a:theme xmlns:a="http://schemas.openxmlformats.org/drawingml/2006/main" name="4_Firm Format - template_Blue">
  <a:themeElements>
    <a:clrScheme name="Otkritie">
      <a:dk1>
        <a:srgbClr val="58595B"/>
      </a:dk1>
      <a:lt1>
        <a:srgbClr val="FFFFFF"/>
      </a:lt1>
      <a:dk2>
        <a:srgbClr val="00BBE4"/>
      </a:dk2>
      <a:lt2>
        <a:srgbClr val="E5F8FC"/>
      </a:lt2>
      <a:accent1>
        <a:srgbClr val="00BBE4"/>
      </a:accent1>
      <a:accent2>
        <a:srgbClr val="DEDEDE"/>
      </a:accent2>
      <a:accent3>
        <a:srgbClr val="9B9B9D"/>
      </a:accent3>
      <a:accent4>
        <a:srgbClr val="797A7C"/>
      </a:accent4>
      <a:accent5>
        <a:srgbClr val="00BBE4"/>
      </a:accent5>
      <a:accent6>
        <a:srgbClr val="3F3F3F"/>
      </a:accent6>
      <a:hlink>
        <a:srgbClr val="58595B"/>
      </a:hlink>
      <a:folHlink>
        <a:srgbClr val="00BBE3"/>
      </a:folHlink>
    </a:clrScheme>
    <a:fontScheme name="Custom 2">
      <a:majorFont>
        <a:latin typeface="Whitney Book"/>
        <a:ea typeface=""/>
        <a:cs typeface=""/>
      </a:majorFont>
      <a:minorFont>
        <a:latin typeface="Whitney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BE4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solidFill>
              <a:srgbClr val="58595B"/>
            </a:solidFill>
            <a:latin typeface="+mn-lt"/>
          </a:defRPr>
        </a:defPPr>
      </a:lstStyle>
    </a:tx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Открытие New Template 2018.potx" id="{0D9BEE3E-C48C-4FD0-9BB9-D73EBAE251F8}" vid="{B5179B2F-7303-4742-9BBA-E39885FB7336}"/>
    </a:ext>
  </a:extLst>
</a:theme>
</file>

<file path=ppt/theme/theme5.xml><?xml version="1.0" encoding="utf-8"?>
<a:theme xmlns:a="http://schemas.openxmlformats.org/drawingml/2006/main" name="5_Firm Format - template_Blue">
  <a:themeElements>
    <a:clrScheme name="Otkritie">
      <a:dk1>
        <a:srgbClr val="58595B"/>
      </a:dk1>
      <a:lt1>
        <a:srgbClr val="FFFFFF"/>
      </a:lt1>
      <a:dk2>
        <a:srgbClr val="00BBE4"/>
      </a:dk2>
      <a:lt2>
        <a:srgbClr val="E5F8FC"/>
      </a:lt2>
      <a:accent1>
        <a:srgbClr val="00BBE4"/>
      </a:accent1>
      <a:accent2>
        <a:srgbClr val="DEDEDE"/>
      </a:accent2>
      <a:accent3>
        <a:srgbClr val="9B9B9D"/>
      </a:accent3>
      <a:accent4>
        <a:srgbClr val="797A7C"/>
      </a:accent4>
      <a:accent5>
        <a:srgbClr val="00BBE4"/>
      </a:accent5>
      <a:accent6>
        <a:srgbClr val="3F3F3F"/>
      </a:accent6>
      <a:hlink>
        <a:srgbClr val="58595B"/>
      </a:hlink>
      <a:folHlink>
        <a:srgbClr val="00BBE3"/>
      </a:folHlink>
    </a:clrScheme>
    <a:fontScheme name="Custom 2">
      <a:majorFont>
        <a:latin typeface="Whitney Book"/>
        <a:ea typeface=""/>
        <a:cs typeface=""/>
      </a:majorFont>
      <a:minorFont>
        <a:latin typeface="Whitney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BE4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solidFill>
              <a:srgbClr val="58595B"/>
            </a:solidFill>
            <a:latin typeface="+mn-lt"/>
          </a:defRPr>
        </a:defPPr>
      </a:lstStyle>
    </a:tx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Открытие New Template 2018.potx" id="{0D9BEE3E-C48C-4FD0-9BB9-D73EBAE251F8}" vid="{B5179B2F-7303-4742-9BBA-E39885FB7336}"/>
    </a:ext>
  </a:extLst>
</a:theme>
</file>

<file path=ppt/theme/theme6.xml><?xml version="1.0" encoding="utf-8"?>
<a:theme xmlns:a="http://schemas.openxmlformats.org/drawingml/2006/main" name="6_Firm Format - template_Blue">
  <a:themeElements>
    <a:clrScheme name="Otkritie">
      <a:dk1>
        <a:srgbClr val="58595B"/>
      </a:dk1>
      <a:lt1>
        <a:srgbClr val="FFFFFF"/>
      </a:lt1>
      <a:dk2>
        <a:srgbClr val="00BBE4"/>
      </a:dk2>
      <a:lt2>
        <a:srgbClr val="E5F8FC"/>
      </a:lt2>
      <a:accent1>
        <a:srgbClr val="00BBE4"/>
      </a:accent1>
      <a:accent2>
        <a:srgbClr val="DEDEDE"/>
      </a:accent2>
      <a:accent3>
        <a:srgbClr val="9B9B9D"/>
      </a:accent3>
      <a:accent4>
        <a:srgbClr val="797A7C"/>
      </a:accent4>
      <a:accent5>
        <a:srgbClr val="00BBE4"/>
      </a:accent5>
      <a:accent6>
        <a:srgbClr val="3F3F3F"/>
      </a:accent6>
      <a:hlink>
        <a:srgbClr val="58595B"/>
      </a:hlink>
      <a:folHlink>
        <a:srgbClr val="00BBE3"/>
      </a:folHlink>
    </a:clrScheme>
    <a:fontScheme name="Custom 2">
      <a:majorFont>
        <a:latin typeface="Whitney Book"/>
        <a:ea typeface=""/>
        <a:cs typeface=""/>
      </a:majorFont>
      <a:minorFont>
        <a:latin typeface="Whitney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BE4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solidFill>
              <a:srgbClr val="58595B"/>
            </a:solidFill>
            <a:latin typeface="+mn-lt"/>
          </a:defRPr>
        </a:defPPr>
      </a:lstStyle>
    </a:tx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Открытие New Template 2018.potx" id="{0D9BEE3E-C48C-4FD0-9BB9-D73EBAE251F8}" vid="{B5179B2F-7303-4742-9BBA-E39885FB7336}"/>
    </a:ext>
  </a:extLst>
</a:theme>
</file>

<file path=ppt/theme/theme7.xml><?xml version="1.0" encoding="utf-8"?>
<a:theme xmlns:a="http://schemas.openxmlformats.org/drawingml/2006/main" name="7_Firm Format - template_Blue">
  <a:themeElements>
    <a:clrScheme name="Otkritie">
      <a:dk1>
        <a:srgbClr val="58595B"/>
      </a:dk1>
      <a:lt1>
        <a:srgbClr val="FFFFFF"/>
      </a:lt1>
      <a:dk2>
        <a:srgbClr val="00BBE4"/>
      </a:dk2>
      <a:lt2>
        <a:srgbClr val="E5F8FC"/>
      </a:lt2>
      <a:accent1>
        <a:srgbClr val="00BBE4"/>
      </a:accent1>
      <a:accent2>
        <a:srgbClr val="DEDEDE"/>
      </a:accent2>
      <a:accent3>
        <a:srgbClr val="9B9B9D"/>
      </a:accent3>
      <a:accent4>
        <a:srgbClr val="797A7C"/>
      </a:accent4>
      <a:accent5>
        <a:srgbClr val="00BBE4"/>
      </a:accent5>
      <a:accent6>
        <a:srgbClr val="3F3F3F"/>
      </a:accent6>
      <a:hlink>
        <a:srgbClr val="58595B"/>
      </a:hlink>
      <a:folHlink>
        <a:srgbClr val="00BBE3"/>
      </a:folHlink>
    </a:clrScheme>
    <a:fontScheme name="Custom 2">
      <a:majorFont>
        <a:latin typeface="Whitney Book"/>
        <a:ea typeface=""/>
        <a:cs typeface=""/>
      </a:majorFont>
      <a:minorFont>
        <a:latin typeface="Whitney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BBE4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solidFill>
              <a:srgbClr val="58595B"/>
            </a:solidFill>
            <a:latin typeface="+mn-lt"/>
          </a:defRPr>
        </a:defPPr>
      </a:lstStyle>
    </a:tx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Открытие New Template 2018.potx" id="{0D9BEE3E-C48C-4FD0-9BB9-D73EBAE251F8}" vid="{B5179B2F-7303-4742-9BBA-E39885FB7336}"/>
    </a:ext>
  </a:extLst>
</a:theme>
</file>

<file path=ppt/theme/theme8.xml><?xml version="1.0" encoding="utf-8"?>
<a:theme xmlns:a="http://schemas.openxmlformats.org/drawingml/2006/main" name="2_Открытие">
  <a:themeElements>
    <a:clrScheme name="Цвет 2">
      <a:dk1>
        <a:srgbClr val="000000"/>
      </a:dk1>
      <a:lt1>
        <a:srgbClr val="FFFFFF"/>
      </a:lt1>
      <a:dk2>
        <a:srgbClr val="0071BC"/>
      </a:dk2>
      <a:lt2>
        <a:srgbClr val="00BBE3"/>
      </a:lt2>
      <a:accent1>
        <a:srgbClr val="DCDDE7"/>
      </a:accent1>
      <a:accent2>
        <a:srgbClr val="7D838C"/>
      </a:accent2>
      <a:accent3>
        <a:srgbClr val="273C4E"/>
      </a:accent3>
      <a:accent4>
        <a:srgbClr val="87F6FF"/>
      </a:accent4>
      <a:accent5>
        <a:srgbClr val="0071BC"/>
      </a:accent5>
      <a:accent6>
        <a:srgbClr val="158864"/>
      </a:accent6>
      <a:hlink>
        <a:srgbClr val="2B3643"/>
      </a:hlink>
      <a:folHlink>
        <a:srgbClr val="00BBE3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="" xmlns:thm15="http://schemas.microsoft.com/office/thememl/2012/main" name="шаблон Открытие_PrivateBanking" id="{A36729DD-62F8-DA43-AD29-9158A9F62A4E}" vid="{4E953006-7008-5743-8064-7B1063CF1FB0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67</TotalTime>
  <Words>285</Words>
  <Application>Microsoft Office PowerPoint</Application>
  <PresentationFormat>Произвольный</PresentationFormat>
  <Paragraphs>110</Paragraphs>
  <Slides>7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6" baseType="lpstr">
      <vt:lpstr>1_Открытие</vt:lpstr>
      <vt:lpstr>Открытие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2_Открытие</vt:lpstr>
      <vt:lpstr>think-cell Slide</vt:lpstr>
      <vt:lpstr> БАНК ОТКРЫТИЕ</vt:lpstr>
      <vt:lpstr>Презентация PowerPoint</vt:lpstr>
      <vt:lpstr>Объединенный Банк «ОТКРЫТИЕ»</vt:lpstr>
      <vt:lpstr>Презентация PowerPoint</vt:lpstr>
      <vt:lpstr> БАНКОВСКИЕ  ГАРАНТИИ  ПРОЦЕНТНАЯ СТАВКА – ОТ 0,9%  СРОКИ – ДО 5 ЛЕТ  СРОКИ ПО ПРОГРАММЕ  ФОНДА МОНОГОРОДОВ – ДО 10 ЛЕТ  БЕЗ ОБЕСПЕЧЕНИЯ – ДО 200 000 000 РУБЛЕЙ   Виды банковских гарантий: - гарантия возврат авансового платежа -  гарантия   платежа  - гарантия на участие в конкурсе/аукционе - гарантия уплаты арендных платежей - гарантия в пользу таможенных органов РФ - гарантия   исполнения  контракта  (в  том числе  Госзаказов По 44-ФЗ, 223-ФЗ) </vt:lpstr>
      <vt:lpstr>Презентация PowerPoint</vt:lpstr>
      <vt:lpstr>                            СПАСИБО   ЗА   ВНИМАНИЕ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асильев Алексей Анатольевич</dc:creator>
  <cp:lastModifiedBy>Grebneva_OV</cp:lastModifiedBy>
  <cp:revision>822</cp:revision>
  <cp:lastPrinted>2019-02-26T11:27:44Z</cp:lastPrinted>
  <dcterms:created xsi:type="dcterms:W3CDTF">2018-10-19T13:20:33Z</dcterms:created>
  <dcterms:modified xsi:type="dcterms:W3CDTF">2019-10-11T07:22:21Z</dcterms:modified>
</cp:coreProperties>
</file>